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  <p:sldMasterId id="2147483684" r:id="rId4"/>
    <p:sldMasterId id="2147483711" r:id="rId5"/>
  </p:sldMasterIdLst>
  <p:sldIdLst>
    <p:sldId id="256" r:id="rId6"/>
    <p:sldId id="303" r:id="rId7"/>
    <p:sldId id="289" r:id="rId8"/>
    <p:sldId id="307" r:id="rId9"/>
    <p:sldId id="304" r:id="rId10"/>
    <p:sldId id="312" r:id="rId11"/>
    <p:sldId id="310" r:id="rId12"/>
    <p:sldId id="300" r:id="rId13"/>
    <p:sldId id="285" r:id="rId14"/>
  </p:sldIdLst>
  <p:sldSz cx="9144000" cy="6858000" type="screen4x3"/>
  <p:notesSz cx="6858000" cy="9144000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A65"/>
    <a:srgbClr val="FFFFFF"/>
    <a:srgbClr val="00CC00"/>
    <a:srgbClr val="33CC33"/>
    <a:srgbClr val="FF3300"/>
    <a:srgbClr val="FF6600"/>
    <a:srgbClr val="00FF00"/>
    <a:srgbClr val="2905A1"/>
    <a:srgbClr val="0DB02B"/>
    <a:srgbClr val="DFFF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Açık Stil 2 - Vurgu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Stil Yok, Tablo Kılavuz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54" autoAdjust="0"/>
    <p:restoredTop sz="94660"/>
  </p:normalViewPr>
  <p:slideViewPr>
    <p:cSldViewPr>
      <p:cViewPr varScale="1">
        <p:scale>
          <a:sx n="73" d="100"/>
          <a:sy n="73" d="100"/>
        </p:scale>
        <p:origin x="1266" y="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ACEA1A7-46F0-4574-8029-741310E6AD2F}" type="doc">
      <dgm:prSet loTypeId="urn:microsoft.com/office/officeart/2009/3/layout/StepUpProcess" loCatId="process" qsTypeId="urn:microsoft.com/office/officeart/2005/8/quickstyle/simple5" qsCatId="simple" csTypeId="urn:microsoft.com/office/officeart/2005/8/colors/accent1_4" csCatId="accent1" phldr="1"/>
      <dgm:spPr/>
      <dgm:t>
        <a:bodyPr/>
        <a:lstStyle/>
        <a:p>
          <a:endParaRPr lang="tr-TR"/>
        </a:p>
      </dgm:t>
    </dgm:pt>
    <dgm:pt modelId="{183B0A4D-D56E-4BC7-867F-229F37E188BC}">
      <dgm:prSet phldrT="[Metin]" custT="1"/>
      <dgm:spPr/>
      <dgm:t>
        <a:bodyPr/>
        <a:lstStyle/>
        <a:p>
          <a:r>
            <a:rPr lang="tr-TR" sz="1500" b="1" dirty="0" smtClean="0"/>
            <a:t>Proje Hazırlama Dönemi / Kapanış</a:t>
          </a:r>
          <a:endParaRPr lang="tr-TR" sz="1500" b="1" dirty="0"/>
        </a:p>
      </dgm:t>
    </dgm:pt>
    <dgm:pt modelId="{82105F06-C01A-4F26-961B-BA4FB60628DA}" type="parTrans" cxnId="{291B4063-423D-498D-B4B7-D1BD45BECB84}">
      <dgm:prSet/>
      <dgm:spPr/>
      <dgm:t>
        <a:bodyPr/>
        <a:lstStyle/>
        <a:p>
          <a:endParaRPr lang="tr-TR" sz="5400" b="1"/>
        </a:p>
      </dgm:t>
    </dgm:pt>
    <dgm:pt modelId="{E5B7E66A-F7BD-4812-B48D-F308E8DC258F}" type="sibTrans" cxnId="{291B4063-423D-498D-B4B7-D1BD45BECB84}">
      <dgm:prSet/>
      <dgm:spPr/>
      <dgm:t>
        <a:bodyPr/>
        <a:lstStyle/>
        <a:p>
          <a:endParaRPr lang="tr-TR" sz="5400" b="1"/>
        </a:p>
      </dgm:t>
    </dgm:pt>
    <dgm:pt modelId="{998ADA70-C3CA-4775-9EAF-04CD374F6550}">
      <dgm:prSet phldrT="[Metin]" custT="1"/>
      <dgm:spPr/>
      <dgm:t>
        <a:bodyPr/>
        <a:lstStyle/>
        <a:p>
          <a:r>
            <a:rPr lang="tr-TR" sz="1500" b="1" dirty="0" smtClean="0"/>
            <a:t>Programın </a:t>
          </a:r>
        </a:p>
        <a:p>
          <a:r>
            <a:rPr lang="tr-TR" sz="1500" b="1" dirty="0" smtClean="0"/>
            <a:t>Başlangıcı</a:t>
          </a:r>
          <a:endParaRPr lang="tr-TR" sz="1500" b="1" dirty="0"/>
        </a:p>
      </dgm:t>
    </dgm:pt>
    <dgm:pt modelId="{05CE4F3B-423E-42F3-8F5C-68E83CFE88D1}" type="parTrans" cxnId="{C6AE8752-8065-451C-86C7-0417203B366A}">
      <dgm:prSet/>
      <dgm:spPr/>
      <dgm:t>
        <a:bodyPr/>
        <a:lstStyle/>
        <a:p>
          <a:endParaRPr lang="tr-TR" sz="5400" b="1"/>
        </a:p>
      </dgm:t>
    </dgm:pt>
    <dgm:pt modelId="{35413DD0-58F3-4F64-AAD5-04209E8BB4EC}" type="sibTrans" cxnId="{C6AE8752-8065-451C-86C7-0417203B366A}">
      <dgm:prSet/>
      <dgm:spPr/>
      <dgm:t>
        <a:bodyPr/>
        <a:lstStyle/>
        <a:p>
          <a:endParaRPr lang="tr-TR" sz="5400" b="1"/>
        </a:p>
      </dgm:t>
    </dgm:pt>
    <dgm:pt modelId="{DCF19859-179D-4B8B-8136-A18C2251DD98}">
      <dgm:prSet phldrT="[Metin]" custT="1"/>
      <dgm:spPr/>
      <dgm:t>
        <a:bodyPr/>
        <a:lstStyle/>
        <a:p>
          <a:r>
            <a:rPr lang="tr-TR" sz="1500" b="1" dirty="0" smtClean="0"/>
            <a:t>Ekiplerin Fonksiyon Değişimi</a:t>
          </a:r>
          <a:endParaRPr lang="tr-TR" sz="1500" b="1" dirty="0"/>
        </a:p>
      </dgm:t>
    </dgm:pt>
    <dgm:pt modelId="{FBD660E7-E5B2-4B5F-8052-EA6978FA4D8F}" type="parTrans" cxnId="{EEC0680A-7E49-46F5-B166-787FA76CB7DC}">
      <dgm:prSet/>
      <dgm:spPr/>
      <dgm:t>
        <a:bodyPr/>
        <a:lstStyle/>
        <a:p>
          <a:endParaRPr lang="tr-TR"/>
        </a:p>
      </dgm:t>
    </dgm:pt>
    <dgm:pt modelId="{DA95926D-EE71-457B-8DE9-D04A895915DA}" type="sibTrans" cxnId="{EEC0680A-7E49-46F5-B166-787FA76CB7DC}">
      <dgm:prSet/>
      <dgm:spPr/>
      <dgm:t>
        <a:bodyPr/>
        <a:lstStyle/>
        <a:p>
          <a:endParaRPr lang="tr-TR"/>
        </a:p>
      </dgm:t>
    </dgm:pt>
    <dgm:pt modelId="{E0082E53-FC5D-4000-BBED-C6DFD184A5B9}">
      <dgm:prSet custT="1"/>
      <dgm:spPr/>
      <dgm:t>
        <a:bodyPr/>
        <a:lstStyle/>
        <a:p>
          <a:r>
            <a:rPr lang="tr-TR" sz="1500" b="1" dirty="0" smtClean="0"/>
            <a:t>Karşılıklı Geribildirim ve Projelerin Belirlenmesi</a:t>
          </a:r>
          <a:endParaRPr lang="tr-TR" sz="1500" b="1" dirty="0"/>
        </a:p>
      </dgm:t>
    </dgm:pt>
    <dgm:pt modelId="{8A8A358D-1DFE-4270-A2CD-125A1BABCBDB}" type="parTrans" cxnId="{9EAAE2F7-90C6-4B15-82B4-F8BB86C61D1A}">
      <dgm:prSet/>
      <dgm:spPr/>
      <dgm:t>
        <a:bodyPr/>
        <a:lstStyle/>
        <a:p>
          <a:endParaRPr lang="tr-TR"/>
        </a:p>
      </dgm:t>
    </dgm:pt>
    <dgm:pt modelId="{E8C8676F-2FB7-4012-BE8E-2410E5C12A01}" type="sibTrans" cxnId="{9EAAE2F7-90C6-4B15-82B4-F8BB86C61D1A}">
      <dgm:prSet/>
      <dgm:spPr/>
      <dgm:t>
        <a:bodyPr/>
        <a:lstStyle/>
        <a:p>
          <a:endParaRPr lang="tr-TR"/>
        </a:p>
      </dgm:t>
    </dgm:pt>
    <dgm:pt modelId="{FCFCB298-E1A1-417C-B990-557FB704E93E}" type="pres">
      <dgm:prSet presAssocID="{4ACEA1A7-46F0-4574-8029-741310E6AD2F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tr-TR"/>
        </a:p>
      </dgm:t>
    </dgm:pt>
    <dgm:pt modelId="{1C9F626F-D868-43AA-9DEC-562C399C3E51}" type="pres">
      <dgm:prSet presAssocID="{998ADA70-C3CA-4775-9EAF-04CD374F6550}" presName="composite" presStyleCnt="0"/>
      <dgm:spPr/>
    </dgm:pt>
    <dgm:pt modelId="{12ED2F87-07E1-453C-B177-0326A8E6EF57}" type="pres">
      <dgm:prSet presAssocID="{998ADA70-C3CA-4775-9EAF-04CD374F6550}" presName="LShape" presStyleLbl="alignNode1" presStyleIdx="0" presStyleCnt="7"/>
      <dgm:spPr/>
    </dgm:pt>
    <dgm:pt modelId="{B9ACCDCA-C0C2-4A95-93E6-444BA314E587}" type="pres">
      <dgm:prSet presAssocID="{998ADA70-C3CA-4775-9EAF-04CD374F6550}" presName="ParentText" presStyleLbl="revTx" presStyleIdx="0" presStyleCnt="4" custScaleX="98467" custScaleY="60890" custLinFactNeighborX="66" custLinFactNeighborY="-1701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0349B5F4-B6EA-4D26-AE8E-032949D19D3F}" type="pres">
      <dgm:prSet presAssocID="{998ADA70-C3CA-4775-9EAF-04CD374F6550}" presName="Triangle" presStyleLbl="alignNode1" presStyleIdx="1" presStyleCnt="7"/>
      <dgm:spPr/>
    </dgm:pt>
    <dgm:pt modelId="{A0A20E32-E99D-43CD-A397-E03AFAB9F586}" type="pres">
      <dgm:prSet presAssocID="{35413DD0-58F3-4F64-AAD5-04209E8BB4EC}" presName="sibTrans" presStyleCnt="0"/>
      <dgm:spPr/>
    </dgm:pt>
    <dgm:pt modelId="{9A8214E1-3546-49DB-8AB4-D5388C693A42}" type="pres">
      <dgm:prSet presAssocID="{35413DD0-58F3-4F64-AAD5-04209E8BB4EC}" presName="space" presStyleCnt="0"/>
      <dgm:spPr/>
    </dgm:pt>
    <dgm:pt modelId="{60A9643F-9FEA-4355-9731-03F8D24875BB}" type="pres">
      <dgm:prSet presAssocID="{DCF19859-179D-4B8B-8136-A18C2251DD98}" presName="composite" presStyleCnt="0"/>
      <dgm:spPr/>
    </dgm:pt>
    <dgm:pt modelId="{21D77587-0B91-4D0A-849B-D4A01E6703A7}" type="pres">
      <dgm:prSet presAssocID="{DCF19859-179D-4B8B-8136-A18C2251DD98}" presName="LShape" presStyleLbl="alignNode1" presStyleIdx="2" presStyleCnt="7"/>
      <dgm:spPr/>
    </dgm:pt>
    <dgm:pt modelId="{8F71C6A1-AB93-4AA7-A19F-F97596DC431B}" type="pres">
      <dgm:prSet presAssocID="{DCF19859-179D-4B8B-8136-A18C2251DD98}" presName="ParentText" presStyleLbl="revTx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A75F8A0A-390E-4CE2-8CDF-920119C644AB}" type="pres">
      <dgm:prSet presAssocID="{DCF19859-179D-4B8B-8136-A18C2251DD98}" presName="Triangle" presStyleLbl="alignNode1" presStyleIdx="3" presStyleCnt="7"/>
      <dgm:spPr/>
    </dgm:pt>
    <dgm:pt modelId="{74F516EE-8A8A-4461-9453-E832B28AE6D2}" type="pres">
      <dgm:prSet presAssocID="{DA95926D-EE71-457B-8DE9-D04A895915DA}" presName="sibTrans" presStyleCnt="0"/>
      <dgm:spPr/>
    </dgm:pt>
    <dgm:pt modelId="{DA0CF840-0171-4DEF-93E0-6129A8E79DC2}" type="pres">
      <dgm:prSet presAssocID="{DA95926D-EE71-457B-8DE9-D04A895915DA}" presName="space" presStyleCnt="0"/>
      <dgm:spPr/>
    </dgm:pt>
    <dgm:pt modelId="{55A609F0-85CB-40DF-84F9-3178FA83AEF2}" type="pres">
      <dgm:prSet presAssocID="{183B0A4D-D56E-4BC7-867F-229F37E188BC}" presName="composite" presStyleCnt="0"/>
      <dgm:spPr/>
    </dgm:pt>
    <dgm:pt modelId="{8041411B-EBC2-4794-AC25-7E54D3174763}" type="pres">
      <dgm:prSet presAssocID="{183B0A4D-D56E-4BC7-867F-229F37E188BC}" presName="LShape" presStyleLbl="alignNode1" presStyleIdx="4" presStyleCnt="7"/>
      <dgm:spPr/>
    </dgm:pt>
    <dgm:pt modelId="{30421CB4-59E6-4282-BB93-3D5633073ECA}" type="pres">
      <dgm:prSet presAssocID="{183B0A4D-D56E-4BC7-867F-229F37E188BC}" presName="ParentText" presStyleLbl="revTx" presStyleIdx="2" presStyleCnt="4" custLinFactX="51396" custLinFactNeighborX="100000" custLinFactNeighborY="-3166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8A2BD65E-053D-461E-BF02-096358C25606}" type="pres">
      <dgm:prSet presAssocID="{183B0A4D-D56E-4BC7-867F-229F37E188BC}" presName="Triangle" presStyleLbl="alignNode1" presStyleIdx="5" presStyleCnt="7"/>
      <dgm:spPr/>
    </dgm:pt>
    <dgm:pt modelId="{6275A9F2-29F0-4D7C-89CD-EC06B0FD9E9C}" type="pres">
      <dgm:prSet presAssocID="{E5B7E66A-F7BD-4812-B48D-F308E8DC258F}" presName="sibTrans" presStyleCnt="0"/>
      <dgm:spPr/>
    </dgm:pt>
    <dgm:pt modelId="{516CF4A3-0077-4CA9-9E4A-0D6AF039D64B}" type="pres">
      <dgm:prSet presAssocID="{E5B7E66A-F7BD-4812-B48D-F308E8DC258F}" presName="space" presStyleCnt="0"/>
      <dgm:spPr/>
    </dgm:pt>
    <dgm:pt modelId="{76B5F70A-C3F9-4EEC-8128-3EE2BEB4BA1E}" type="pres">
      <dgm:prSet presAssocID="{E0082E53-FC5D-4000-BBED-C6DFD184A5B9}" presName="composite" presStyleCnt="0"/>
      <dgm:spPr/>
    </dgm:pt>
    <dgm:pt modelId="{BFD6E7E4-AE29-498B-8753-92945F15F266}" type="pres">
      <dgm:prSet presAssocID="{E0082E53-FC5D-4000-BBED-C6DFD184A5B9}" presName="LShape" presStyleLbl="alignNode1" presStyleIdx="6" presStyleCnt="7"/>
      <dgm:spPr/>
    </dgm:pt>
    <dgm:pt modelId="{D8AE01D8-02DA-42C1-B373-969D1A87A3DA}" type="pres">
      <dgm:prSet presAssocID="{E0082E53-FC5D-4000-BBED-C6DFD184A5B9}" presName="ParentText" presStyleLbl="revTx" presStyleIdx="3" presStyleCnt="4" custLinFactX="-19913" custLinFactNeighborX="-100000" custLinFactNeighborY="3478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tr-TR"/>
        </a:p>
      </dgm:t>
    </dgm:pt>
  </dgm:ptLst>
  <dgm:cxnLst>
    <dgm:cxn modelId="{438EDBBF-C343-4135-9C82-6A31D4B9A2DE}" type="presOf" srcId="{E0082E53-FC5D-4000-BBED-C6DFD184A5B9}" destId="{D8AE01D8-02DA-42C1-B373-969D1A87A3DA}" srcOrd="0" destOrd="0" presId="urn:microsoft.com/office/officeart/2009/3/layout/StepUpProcess"/>
    <dgm:cxn modelId="{CA351DB3-A51B-4549-9D39-753E6AEF4C85}" type="presOf" srcId="{DCF19859-179D-4B8B-8136-A18C2251DD98}" destId="{8F71C6A1-AB93-4AA7-A19F-F97596DC431B}" srcOrd="0" destOrd="0" presId="urn:microsoft.com/office/officeart/2009/3/layout/StepUpProcess"/>
    <dgm:cxn modelId="{291B4063-423D-498D-B4B7-D1BD45BECB84}" srcId="{4ACEA1A7-46F0-4574-8029-741310E6AD2F}" destId="{183B0A4D-D56E-4BC7-867F-229F37E188BC}" srcOrd="2" destOrd="0" parTransId="{82105F06-C01A-4F26-961B-BA4FB60628DA}" sibTransId="{E5B7E66A-F7BD-4812-B48D-F308E8DC258F}"/>
    <dgm:cxn modelId="{BCC57CD1-5823-4EA3-8C92-27795D021381}" type="presOf" srcId="{998ADA70-C3CA-4775-9EAF-04CD374F6550}" destId="{B9ACCDCA-C0C2-4A95-93E6-444BA314E587}" srcOrd="0" destOrd="0" presId="urn:microsoft.com/office/officeart/2009/3/layout/StepUpProcess"/>
    <dgm:cxn modelId="{9EAAE2F7-90C6-4B15-82B4-F8BB86C61D1A}" srcId="{4ACEA1A7-46F0-4574-8029-741310E6AD2F}" destId="{E0082E53-FC5D-4000-BBED-C6DFD184A5B9}" srcOrd="3" destOrd="0" parTransId="{8A8A358D-1DFE-4270-A2CD-125A1BABCBDB}" sibTransId="{E8C8676F-2FB7-4012-BE8E-2410E5C12A01}"/>
    <dgm:cxn modelId="{287D7D8F-6344-446F-A150-60D96FD8C50B}" type="presOf" srcId="{183B0A4D-D56E-4BC7-867F-229F37E188BC}" destId="{30421CB4-59E6-4282-BB93-3D5633073ECA}" srcOrd="0" destOrd="0" presId="urn:microsoft.com/office/officeart/2009/3/layout/StepUpProcess"/>
    <dgm:cxn modelId="{997066F6-9825-47AC-878E-0DCD04C66C2D}" type="presOf" srcId="{4ACEA1A7-46F0-4574-8029-741310E6AD2F}" destId="{FCFCB298-E1A1-417C-B990-557FB704E93E}" srcOrd="0" destOrd="0" presId="urn:microsoft.com/office/officeart/2009/3/layout/StepUpProcess"/>
    <dgm:cxn modelId="{EEC0680A-7E49-46F5-B166-787FA76CB7DC}" srcId="{4ACEA1A7-46F0-4574-8029-741310E6AD2F}" destId="{DCF19859-179D-4B8B-8136-A18C2251DD98}" srcOrd="1" destOrd="0" parTransId="{FBD660E7-E5B2-4B5F-8052-EA6978FA4D8F}" sibTransId="{DA95926D-EE71-457B-8DE9-D04A895915DA}"/>
    <dgm:cxn modelId="{C6AE8752-8065-451C-86C7-0417203B366A}" srcId="{4ACEA1A7-46F0-4574-8029-741310E6AD2F}" destId="{998ADA70-C3CA-4775-9EAF-04CD374F6550}" srcOrd="0" destOrd="0" parTransId="{05CE4F3B-423E-42F3-8F5C-68E83CFE88D1}" sibTransId="{35413DD0-58F3-4F64-AAD5-04209E8BB4EC}"/>
    <dgm:cxn modelId="{EC4DCBB2-72B6-490D-8347-3C93F5025D52}" type="presParOf" srcId="{FCFCB298-E1A1-417C-B990-557FB704E93E}" destId="{1C9F626F-D868-43AA-9DEC-562C399C3E51}" srcOrd="0" destOrd="0" presId="urn:microsoft.com/office/officeart/2009/3/layout/StepUpProcess"/>
    <dgm:cxn modelId="{05C95DFC-4FF2-40CE-8A78-ECB7AD8228A9}" type="presParOf" srcId="{1C9F626F-D868-43AA-9DEC-562C399C3E51}" destId="{12ED2F87-07E1-453C-B177-0326A8E6EF57}" srcOrd="0" destOrd="0" presId="urn:microsoft.com/office/officeart/2009/3/layout/StepUpProcess"/>
    <dgm:cxn modelId="{53FB418B-DC25-4863-9971-6D1C52C1B8CC}" type="presParOf" srcId="{1C9F626F-D868-43AA-9DEC-562C399C3E51}" destId="{B9ACCDCA-C0C2-4A95-93E6-444BA314E587}" srcOrd="1" destOrd="0" presId="urn:microsoft.com/office/officeart/2009/3/layout/StepUpProcess"/>
    <dgm:cxn modelId="{1BD3D848-C890-4C38-8B9F-3583D237B912}" type="presParOf" srcId="{1C9F626F-D868-43AA-9DEC-562C399C3E51}" destId="{0349B5F4-B6EA-4D26-AE8E-032949D19D3F}" srcOrd="2" destOrd="0" presId="urn:microsoft.com/office/officeart/2009/3/layout/StepUpProcess"/>
    <dgm:cxn modelId="{55C2FA8C-46CA-452A-A381-770283AFD340}" type="presParOf" srcId="{FCFCB298-E1A1-417C-B990-557FB704E93E}" destId="{A0A20E32-E99D-43CD-A397-E03AFAB9F586}" srcOrd="1" destOrd="0" presId="urn:microsoft.com/office/officeart/2009/3/layout/StepUpProcess"/>
    <dgm:cxn modelId="{7E552039-0984-4C62-A064-E6D459944936}" type="presParOf" srcId="{A0A20E32-E99D-43CD-A397-E03AFAB9F586}" destId="{9A8214E1-3546-49DB-8AB4-D5388C693A42}" srcOrd="0" destOrd="0" presId="urn:microsoft.com/office/officeart/2009/3/layout/StepUpProcess"/>
    <dgm:cxn modelId="{227E46F1-2A02-43C0-88E2-15294103AF4F}" type="presParOf" srcId="{FCFCB298-E1A1-417C-B990-557FB704E93E}" destId="{60A9643F-9FEA-4355-9731-03F8D24875BB}" srcOrd="2" destOrd="0" presId="urn:microsoft.com/office/officeart/2009/3/layout/StepUpProcess"/>
    <dgm:cxn modelId="{96CBFFEE-4DF7-4691-8543-484C0B01F838}" type="presParOf" srcId="{60A9643F-9FEA-4355-9731-03F8D24875BB}" destId="{21D77587-0B91-4D0A-849B-D4A01E6703A7}" srcOrd="0" destOrd="0" presId="urn:microsoft.com/office/officeart/2009/3/layout/StepUpProcess"/>
    <dgm:cxn modelId="{C0B7B806-609C-4DC2-95D7-9F3F7E60D1ED}" type="presParOf" srcId="{60A9643F-9FEA-4355-9731-03F8D24875BB}" destId="{8F71C6A1-AB93-4AA7-A19F-F97596DC431B}" srcOrd="1" destOrd="0" presId="urn:microsoft.com/office/officeart/2009/3/layout/StepUpProcess"/>
    <dgm:cxn modelId="{5A0ADECA-DD77-40DD-BF9A-DA3EFCDA222D}" type="presParOf" srcId="{60A9643F-9FEA-4355-9731-03F8D24875BB}" destId="{A75F8A0A-390E-4CE2-8CDF-920119C644AB}" srcOrd="2" destOrd="0" presId="urn:microsoft.com/office/officeart/2009/3/layout/StepUpProcess"/>
    <dgm:cxn modelId="{7621BF42-4C95-4E53-ACE9-55C0E7C6AD9B}" type="presParOf" srcId="{FCFCB298-E1A1-417C-B990-557FB704E93E}" destId="{74F516EE-8A8A-4461-9453-E832B28AE6D2}" srcOrd="3" destOrd="0" presId="urn:microsoft.com/office/officeart/2009/3/layout/StepUpProcess"/>
    <dgm:cxn modelId="{F866C26F-74F7-424F-86A8-1E260759A7F0}" type="presParOf" srcId="{74F516EE-8A8A-4461-9453-E832B28AE6D2}" destId="{DA0CF840-0171-4DEF-93E0-6129A8E79DC2}" srcOrd="0" destOrd="0" presId="urn:microsoft.com/office/officeart/2009/3/layout/StepUpProcess"/>
    <dgm:cxn modelId="{0EC607E3-2A68-4BEB-A8F5-5AB2BBEA1B6C}" type="presParOf" srcId="{FCFCB298-E1A1-417C-B990-557FB704E93E}" destId="{55A609F0-85CB-40DF-84F9-3178FA83AEF2}" srcOrd="4" destOrd="0" presId="urn:microsoft.com/office/officeart/2009/3/layout/StepUpProcess"/>
    <dgm:cxn modelId="{2FC04FC3-24DB-4240-8E96-8B0969BB64B4}" type="presParOf" srcId="{55A609F0-85CB-40DF-84F9-3178FA83AEF2}" destId="{8041411B-EBC2-4794-AC25-7E54D3174763}" srcOrd="0" destOrd="0" presId="urn:microsoft.com/office/officeart/2009/3/layout/StepUpProcess"/>
    <dgm:cxn modelId="{D1E49BD4-CBD5-414A-88E6-B51D072D29A4}" type="presParOf" srcId="{55A609F0-85CB-40DF-84F9-3178FA83AEF2}" destId="{30421CB4-59E6-4282-BB93-3D5633073ECA}" srcOrd="1" destOrd="0" presId="urn:microsoft.com/office/officeart/2009/3/layout/StepUpProcess"/>
    <dgm:cxn modelId="{6A91E590-F019-4698-A0AF-5827EC0108A6}" type="presParOf" srcId="{55A609F0-85CB-40DF-84F9-3178FA83AEF2}" destId="{8A2BD65E-053D-461E-BF02-096358C25606}" srcOrd="2" destOrd="0" presId="urn:microsoft.com/office/officeart/2009/3/layout/StepUpProcess"/>
    <dgm:cxn modelId="{49560553-9019-4A47-B1F4-7F994B9694F5}" type="presParOf" srcId="{FCFCB298-E1A1-417C-B990-557FB704E93E}" destId="{6275A9F2-29F0-4D7C-89CD-EC06B0FD9E9C}" srcOrd="5" destOrd="0" presId="urn:microsoft.com/office/officeart/2009/3/layout/StepUpProcess"/>
    <dgm:cxn modelId="{2CC43116-2481-4006-B75F-C4C6F59E228B}" type="presParOf" srcId="{6275A9F2-29F0-4D7C-89CD-EC06B0FD9E9C}" destId="{516CF4A3-0077-4CA9-9E4A-0D6AF039D64B}" srcOrd="0" destOrd="0" presId="urn:microsoft.com/office/officeart/2009/3/layout/StepUpProcess"/>
    <dgm:cxn modelId="{EFE72285-F796-4E2A-9696-87E907AB5761}" type="presParOf" srcId="{FCFCB298-E1A1-417C-B990-557FB704E93E}" destId="{76B5F70A-C3F9-4EEC-8128-3EE2BEB4BA1E}" srcOrd="6" destOrd="0" presId="urn:microsoft.com/office/officeart/2009/3/layout/StepUpProcess"/>
    <dgm:cxn modelId="{4A125E73-6AC3-422A-AE1B-9F4DDDD54896}" type="presParOf" srcId="{76B5F70A-C3F9-4EEC-8128-3EE2BEB4BA1E}" destId="{BFD6E7E4-AE29-498B-8753-92945F15F266}" srcOrd="0" destOrd="0" presId="urn:microsoft.com/office/officeart/2009/3/layout/StepUpProcess"/>
    <dgm:cxn modelId="{A3F7316E-A3DA-4373-94E8-226D831EAA56}" type="presParOf" srcId="{76B5F70A-C3F9-4EEC-8128-3EE2BEB4BA1E}" destId="{D8AE01D8-02DA-42C1-B373-969D1A87A3DA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ED2F87-07E1-453C-B177-0326A8E6EF57}">
      <dsp:nvSpPr>
        <dsp:cNvPr id="0" name=""/>
        <dsp:cNvSpPr/>
      </dsp:nvSpPr>
      <dsp:spPr>
        <a:xfrm rot="5400000">
          <a:off x="391540" y="2069647"/>
          <a:ext cx="1171978" cy="1950146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shade val="50000"/>
                <a:hueOff val="0"/>
                <a:satOff val="0"/>
                <a:lumOff val="0"/>
                <a:alphaOff val="0"/>
                <a:tint val="74000"/>
              </a:schemeClr>
            </a:gs>
            <a:gs pos="49000">
              <a:schemeClr val="accent1">
                <a:shade val="50000"/>
                <a:hueOff val="0"/>
                <a:satOff val="0"/>
                <a:lumOff val="0"/>
                <a:alphaOff val="0"/>
                <a:tint val="96000"/>
                <a:shade val="84000"/>
                <a:satMod val="110000"/>
              </a:schemeClr>
            </a:gs>
            <a:gs pos="49100">
              <a:schemeClr val="accent1">
                <a:shade val="50000"/>
                <a:hueOff val="0"/>
                <a:satOff val="0"/>
                <a:lumOff val="0"/>
                <a:alphaOff val="0"/>
                <a:shade val="55000"/>
                <a:satMod val="150000"/>
              </a:schemeClr>
            </a:gs>
            <a:gs pos="92000">
              <a:schemeClr val="accent1">
                <a:shade val="50000"/>
                <a:hueOff val="0"/>
                <a:satOff val="0"/>
                <a:lumOff val="0"/>
                <a:alphaOff val="0"/>
                <a:tint val="98000"/>
                <a:shade val="90000"/>
                <a:satMod val="128000"/>
              </a:schemeClr>
            </a:gs>
            <a:gs pos="100000">
              <a:schemeClr val="accent1">
                <a:shade val="50000"/>
                <a:hueOff val="0"/>
                <a:satOff val="0"/>
                <a:lumOff val="0"/>
                <a:alphaOff val="0"/>
                <a:tint val="90000"/>
                <a:shade val="97000"/>
                <a:satMod val="128000"/>
              </a:schemeClr>
            </a:gs>
          </a:gsLst>
          <a:lin ang="5400000" scaled="1"/>
        </a:gradFill>
        <a:ln w="11430" cap="flat" cmpd="sng" algn="ctr">
          <a:solidFill>
            <a:schemeClr val="accent1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9000" dist="25400" dir="5400000" rotWithShape="0">
            <a:schemeClr val="accent1">
              <a:shade val="50000"/>
              <a:hueOff val="0"/>
              <a:satOff val="0"/>
              <a:lumOff val="0"/>
              <a:alphaOff val="0"/>
              <a:shade val="33000"/>
              <a:alpha val="83000"/>
            </a:schemeClr>
          </a:outerShdw>
        </a:effectLst>
        <a:scene3d>
          <a:camera prst="orthographicFront" fov="0">
            <a:rot lat="0" lon="0" rev="0"/>
          </a:camera>
          <a:lightRig rig="contrasting" dir="t">
            <a:rot lat="0" lon="0" rev="1500000"/>
          </a:lightRig>
        </a:scene3d>
        <a:sp3d extrusionH="127000" prstMaterial="powder">
          <a:bevelT w="50800" h="635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B9ACCDCA-C0C2-4A95-93E6-444BA314E587}">
      <dsp:nvSpPr>
        <dsp:cNvPr id="0" name=""/>
        <dsp:cNvSpPr/>
      </dsp:nvSpPr>
      <dsp:spPr>
        <a:xfrm>
          <a:off x="210565" y="2691535"/>
          <a:ext cx="1733613" cy="9396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500" b="1" kern="1200" dirty="0" smtClean="0"/>
            <a:t>Programın </a:t>
          </a:r>
        </a:p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500" b="1" kern="1200" dirty="0" smtClean="0"/>
            <a:t>Başlangıcı</a:t>
          </a:r>
          <a:endParaRPr lang="tr-TR" sz="1500" b="1" kern="1200" dirty="0"/>
        </a:p>
      </dsp:txBody>
      <dsp:txXfrm>
        <a:off x="210565" y="2691535"/>
        <a:ext cx="1733613" cy="939698"/>
      </dsp:txXfrm>
    </dsp:sp>
    <dsp:sp modelId="{0349B5F4-B6EA-4D26-AE8E-032949D19D3F}">
      <dsp:nvSpPr>
        <dsp:cNvPr id="0" name=""/>
        <dsp:cNvSpPr/>
      </dsp:nvSpPr>
      <dsp:spPr>
        <a:xfrm>
          <a:off x="1624322" y="1926075"/>
          <a:ext cx="332189" cy="332189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shade val="50000"/>
                <a:hueOff val="103268"/>
                <a:satOff val="-2160"/>
                <a:lumOff val="12018"/>
                <a:alphaOff val="0"/>
                <a:tint val="74000"/>
              </a:schemeClr>
            </a:gs>
            <a:gs pos="49000">
              <a:schemeClr val="accent1">
                <a:shade val="50000"/>
                <a:hueOff val="103268"/>
                <a:satOff val="-2160"/>
                <a:lumOff val="12018"/>
                <a:alphaOff val="0"/>
                <a:tint val="96000"/>
                <a:shade val="84000"/>
                <a:satMod val="110000"/>
              </a:schemeClr>
            </a:gs>
            <a:gs pos="49100">
              <a:schemeClr val="accent1">
                <a:shade val="50000"/>
                <a:hueOff val="103268"/>
                <a:satOff val="-2160"/>
                <a:lumOff val="12018"/>
                <a:alphaOff val="0"/>
                <a:shade val="55000"/>
                <a:satMod val="150000"/>
              </a:schemeClr>
            </a:gs>
            <a:gs pos="92000">
              <a:schemeClr val="accent1">
                <a:shade val="50000"/>
                <a:hueOff val="103268"/>
                <a:satOff val="-2160"/>
                <a:lumOff val="12018"/>
                <a:alphaOff val="0"/>
                <a:tint val="98000"/>
                <a:shade val="90000"/>
                <a:satMod val="128000"/>
              </a:schemeClr>
            </a:gs>
            <a:gs pos="100000">
              <a:schemeClr val="accent1">
                <a:shade val="50000"/>
                <a:hueOff val="103268"/>
                <a:satOff val="-2160"/>
                <a:lumOff val="12018"/>
                <a:alphaOff val="0"/>
                <a:tint val="90000"/>
                <a:shade val="97000"/>
                <a:satMod val="128000"/>
              </a:schemeClr>
            </a:gs>
          </a:gsLst>
          <a:lin ang="5400000" scaled="1"/>
        </a:gradFill>
        <a:ln w="11430" cap="flat" cmpd="sng" algn="ctr">
          <a:solidFill>
            <a:schemeClr val="accent1">
              <a:shade val="50000"/>
              <a:hueOff val="103268"/>
              <a:satOff val="-2160"/>
              <a:lumOff val="12018"/>
              <a:alphaOff val="0"/>
            </a:schemeClr>
          </a:solidFill>
          <a:prstDash val="solid"/>
        </a:ln>
        <a:effectLst>
          <a:outerShdw blurRad="39000" dist="25400" dir="5400000" rotWithShape="0">
            <a:schemeClr val="accent1">
              <a:shade val="50000"/>
              <a:hueOff val="103268"/>
              <a:satOff val="-2160"/>
              <a:lumOff val="12018"/>
              <a:alphaOff val="0"/>
              <a:shade val="33000"/>
              <a:alpha val="83000"/>
            </a:schemeClr>
          </a:outerShdw>
        </a:effectLst>
        <a:scene3d>
          <a:camera prst="orthographicFront" fov="0">
            <a:rot lat="0" lon="0" rev="0"/>
          </a:camera>
          <a:lightRig rig="contrasting" dir="t">
            <a:rot lat="0" lon="0" rev="1500000"/>
          </a:lightRig>
        </a:scene3d>
        <a:sp3d extrusionH="127000" prstMaterial="powder">
          <a:bevelT w="50800" h="635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1D77587-0B91-4D0A-849B-D4A01E6703A7}">
      <dsp:nvSpPr>
        <dsp:cNvPr id="0" name=""/>
        <dsp:cNvSpPr/>
      </dsp:nvSpPr>
      <dsp:spPr>
        <a:xfrm rot="5400000">
          <a:off x="2546863" y="1536310"/>
          <a:ext cx="1171978" cy="1950146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shade val="50000"/>
                <a:hueOff val="206535"/>
                <a:satOff val="-4320"/>
                <a:lumOff val="24036"/>
                <a:alphaOff val="0"/>
                <a:tint val="74000"/>
              </a:schemeClr>
            </a:gs>
            <a:gs pos="49000">
              <a:schemeClr val="accent1">
                <a:shade val="50000"/>
                <a:hueOff val="206535"/>
                <a:satOff val="-4320"/>
                <a:lumOff val="24036"/>
                <a:alphaOff val="0"/>
                <a:tint val="96000"/>
                <a:shade val="84000"/>
                <a:satMod val="110000"/>
              </a:schemeClr>
            </a:gs>
            <a:gs pos="49100">
              <a:schemeClr val="accent1">
                <a:shade val="50000"/>
                <a:hueOff val="206535"/>
                <a:satOff val="-4320"/>
                <a:lumOff val="24036"/>
                <a:alphaOff val="0"/>
                <a:shade val="55000"/>
                <a:satMod val="150000"/>
              </a:schemeClr>
            </a:gs>
            <a:gs pos="92000">
              <a:schemeClr val="accent1">
                <a:shade val="50000"/>
                <a:hueOff val="206535"/>
                <a:satOff val="-4320"/>
                <a:lumOff val="24036"/>
                <a:alphaOff val="0"/>
                <a:tint val="98000"/>
                <a:shade val="90000"/>
                <a:satMod val="128000"/>
              </a:schemeClr>
            </a:gs>
            <a:gs pos="100000">
              <a:schemeClr val="accent1">
                <a:shade val="50000"/>
                <a:hueOff val="206535"/>
                <a:satOff val="-4320"/>
                <a:lumOff val="24036"/>
                <a:alphaOff val="0"/>
                <a:tint val="90000"/>
                <a:shade val="97000"/>
                <a:satMod val="128000"/>
              </a:schemeClr>
            </a:gs>
          </a:gsLst>
          <a:lin ang="5400000" scaled="1"/>
        </a:gradFill>
        <a:ln w="11430" cap="flat" cmpd="sng" algn="ctr">
          <a:solidFill>
            <a:schemeClr val="accent1">
              <a:shade val="50000"/>
              <a:hueOff val="206535"/>
              <a:satOff val="-4320"/>
              <a:lumOff val="24036"/>
              <a:alphaOff val="0"/>
            </a:schemeClr>
          </a:solidFill>
          <a:prstDash val="solid"/>
        </a:ln>
        <a:effectLst>
          <a:outerShdw blurRad="39000" dist="25400" dir="5400000" rotWithShape="0">
            <a:schemeClr val="accent1">
              <a:shade val="50000"/>
              <a:hueOff val="206535"/>
              <a:satOff val="-4320"/>
              <a:lumOff val="24036"/>
              <a:alphaOff val="0"/>
              <a:shade val="33000"/>
              <a:alpha val="83000"/>
            </a:schemeClr>
          </a:outerShdw>
        </a:effectLst>
        <a:scene3d>
          <a:camera prst="orthographicFront" fov="0">
            <a:rot lat="0" lon="0" rev="0"/>
          </a:camera>
          <a:lightRig rig="contrasting" dir="t">
            <a:rot lat="0" lon="0" rev="1500000"/>
          </a:lightRig>
        </a:scene3d>
        <a:sp3d extrusionH="127000" prstMaterial="powder">
          <a:bevelT w="50800" h="635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8F71C6A1-AB93-4AA7-A19F-F97596DC431B}">
      <dsp:nvSpPr>
        <dsp:cNvPr id="0" name=""/>
        <dsp:cNvSpPr/>
      </dsp:nvSpPr>
      <dsp:spPr>
        <a:xfrm>
          <a:off x="2351230" y="2118984"/>
          <a:ext cx="1760603" cy="15432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500" b="1" kern="1200" dirty="0" smtClean="0"/>
            <a:t>Ekiplerin Fonksiyon Değişimi</a:t>
          </a:r>
          <a:endParaRPr lang="tr-TR" sz="1500" b="1" kern="1200" dirty="0"/>
        </a:p>
      </dsp:txBody>
      <dsp:txXfrm>
        <a:off x="2351230" y="2118984"/>
        <a:ext cx="1760603" cy="1543272"/>
      </dsp:txXfrm>
    </dsp:sp>
    <dsp:sp modelId="{A75F8A0A-390E-4CE2-8CDF-920119C644AB}">
      <dsp:nvSpPr>
        <dsp:cNvPr id="0" name=""/>
        <dsp:cNvSpPr/>
      </dsp:nvSpPr>
      <dsp:spPr>
        <a:xfrm>
          <a:off x="3779644" y="1392738"/>
          <a:ext cx="332189" cy="332189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shade val="50000"/>
                <a:hueOff val="309803"/>
                <a:satOff val="-6480"/>
                <a:lumOff val="36054"/>
                <a:alphaOff val="0"/>
                <a:tint val="74000"/>
              </a:schemeClr>
            </a:gs>
            <a:gs pos="49000">
              <a:schemeClr val="accent1">
                <a:shade val="50000"/>
                <a:hueOff val="309803"/>
                <a:satOff val="-6480"/>
                <a:lumOff val="36054"/>
                <a:alphaOff val="0"/>
                <a:tint val="96000"/>
                <a:shade val="84000"/>
                <a:satMod val="110000"/>
              </a:schemeClr>
            </a:gs>
            <a:gs pos="49100">
              <a:schemeClr val="accent1">
                <a:shade val="50000"/>
                <a:hueOff val="309803"/>
                <a:satOff val="-6480"/>
                <a:lumOff val="36054"/>
                <a:alphaOff val="0"/>
                <a:shade val="55000"/>
                <a:satMod val="150000"/>
              </a:schemeClr>
            </a:gs>
            <a:gs pos="92000">
              <a:schemeClr val="accent1">
                <a:shade val="50000"/>
                <a:hueOff val="309803"/>
                <a:satOff val="-6480"/>
                <a:lumOff val="36054"/>
                <a:alphaOff val="0"/>
                <a:tint val="98000"/>
                <a:shade val="90000"/>
                <a:satMod val="128000"/>
              </a:schemeClr>
            </a:gs>
            <a:gs pos="100000">
              <a:schemeClr val="accent1">
                <a:shade val="50000"/>
                <a:hueOff val="309803"/>
                <a:satOff val="-6480"/>
                <a:lumOff val="36054"/>
                <a:alphaOff val="0"/>
                <a:tint val="90000"/>
                <a:shade val="97000"/>
                <a:satMod val="128000"/>
              </a:schemeClr>
            </a:gs>
          </a:gsLst>
          <a:lin ang="5400000" scaled="1"/>
        </a:gradFill>
        <a:ln w="11430" cap="flat" cmpd="sng" algn="ctr">
          <a:solidFill>
            <a:schemeClr val="accent1">
              <a:shade val="50000"/>
              <a:hueOff val="309803"/>
              <a:satOff val="-6480"/>
              <a:lumOff val="36054"/>
              <a:alphaOff val="0"/>
            </a:schemeClr>
          </a:solidFill>
          <a:prstDash val="solid"/>
        </a:ln>
        <a:effectLst>
          <a:outerShdw blurRad="39000" dist="25400" dir="5400000" rotWithShape="0">
            <a:schemeClr val="accent1">
              <a:shade val="50000"/>
              <a:hueOff val="309803"/>
              <a:satOff val="-6480"/>
              <a:lumOff val="36054"/>
              <a:alphaOff val="0"/>
              <a:shade val="33000"/>
              <a:alpha val="83000"/>
            </a:schemeClr>
          </a:outerShdw>
        </a:effectLst>
        <a:scene3d>
          <a:camera prst="orthographicFront" fov="0">
            <a:rot lat="0" lon="0" rev="0"/>
          </a:camera>
          <a:lightRig rig="contrasting" dir="t">
            <a:rot lat="0" lon="0" rev="1500000"/>
          </a:lightRig>
        </a:scene3d>
        <a:sp3d extrusionH="127000" prstMaterial="powder">
          <a:bevelT w="50800" h="635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8041411B-EBC2-4794-AC25-7E54D3174763}">
      <dsp:nvSpPr>
        <dsp:cNvPr id="0" name=""/>
        <dsp:cNvSpPr/>
      </dsp:nvSpPr>
      <dsp:spPr>
        <a:xfrm rot="5400000">
          <a:off x="4702185" y="1002974"/>
          <a:ext cx="1171978" cy="1950146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shade val="50000"/>
                <a:hueOff val="309803"/>
                <a:satOff val="-6480"/>
                <a:lumOff val="36054"/>
                <a:alphaOff val="0"/>
                <a:tint val="74000"/>
              </a:schemeClr>
            </a:gs>
            <a:gs pos="49000">
              <a:schemeClr val="accent1">
                <a:shade val="50000"/>
                <a:hueOff val="309803"/>
                <a:satOff val="-6480"/>
                <a:lumOff val="36054"/>
                <a:alphaOff val="0"/>
                <a:tint val="96000"/>
                <a:shade val="84000"/>
                <a:satMod val="110000"/>
              </a:schemeClr>
            </a:gs>
            <a:gs pos="49100">
              <a:schemeClr val="accent1">
                <a:shade val="50000"/>
                <a:hueOff val="309803"/>
                <a:satOff val="-6480"/>
                <a:lumOff val="36054"/>
                <a:alphaOff val="0"/>
                <a:shade val="55000"/>
                <a:satMod val="150000"/>
              </a:schemeClr>
            </a:gs>
            <a:gs pos="92000">
              <a:schemeClr val="accent1">
                <a:shade val="50000"/>
                <a:hueOff val="309803"/>
                <a:satOff val="-6480"/>
                <a:lumOff val="36054"/>
                <a:alphaOff val="0"/>
                <a:tint val="98000"/>
                <a:shade val="90000"/>
                <a:satMod val="128000"/>
              </a:schemeClr>
            </a:gs>
            <a:gs pos="100000">
              <a:schemeClr val="accent1">
                <a:shade val="50000"/>
                <a:hueOff val="309803"/>
                <a:satOff val="-6480"/>
                <a:lumOff val="36054"/>
                <a:alphaOff val="0"/>
                <a:tint val="90000"/>
                <a:shade val="97000"/>
                <a:satMod val="128000"/>
              </a:schemeClr>
            </a:gs>
          </a:gsLst>
          <a:lin ang="5400000" scaled="1"/>
        </a:gradFill>
        <a:ln w="11430" cap="flat" cmpd="sng" algn="ctr">
          <a:solidFill>
            <a:schemeClr val="accent1">
              <a:shade val="50000"/>
              <a:hueOff val="309803"/>
              <a:satOff val="-6480"/>
              <a:lumOff val="36054"/>
              <a:alphaOff val="0"/>
            </a:schemeClr>
          </a:solidFill>
          <a:prstDash val="solid"/>
        </a:ln>
        <a:effectLst>
          <a:outerShdw blurRad="39000" dist="25400" dir="5400000" rotWithShape="0">
            <a:schemeClr val="accent1">
              <a:shade val="50000"/>
              <a:hueOff val="309803"/>
              <a:satOff val="-6480"/>
              <a:lumOff val="36054"/>
              <a:alphaOff val="0"/>
              <a:shade val="33000"/>
              <a:alpha val="83000"/>
            </a:schemeClr>
          </a:outerShdw>
        </a:effectLst>
        <a:scene3d>
          <a:camera prst="orthographicFront" fov="0">
            <a:rot lat="0" lon="0" rev="0"/>
          </a:camera>
          <a:lightRig rig="contrasting" dir="t">
            <a:rot lat="0" lon="0" rev="1500000"/>
          </a:lightRig>
        </a:scene3d>
        <a:sp3d extrusionH="127000" prstMaterial="powder">
          <a:bevelT w="50800" h="635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0421CB4-59E6-4282-BB93-3D5633073ECA}">
      <dsp:nvSpPr>
        <dsp:cNvPr id="0" name=""/>
        <dsp:cNvSpPr/>
      </dsp:nvSpPr>
      <dsp:spPr>
        <a:xfrm>
          <a:off x="6664332" y="1096955"/>
          <a:ext cx="1760603" cy="15432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500" b="1" kern="1200" dirty="0" smtClean="0"/>
            <a:t>Proje Hazırlama Dönemi / Kapanış</a:t>
          </a:r>
          <a:endParaRPr lang="tr-TR" sz="1500" b="1" kern="1200" dirty="0"/>
        </a:p>
      </dsp:txBody>
      <dsp:txXfrm>
        <a:off x="6664332" y="1096955"/>
        <a:ext cx="1760603" cy="1543272"/>
      </dsp:txXfrm>
    </dsp:sp>
    <dsp:sp modelId="{8A2BD65E-053D-461E-BF02-096358C25606}">
      <dsp:nvSpPr>
        <dsp:cNvPr id="0" name=""/>
        <dsp:cNvSpPr/>
      </dsp:nvSpPr>
      <dsp:spPr>
        <a:xfrm>
          <a:off x="5934967" y="859402"/>
          <a:ext cx="332189" cy="332189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shade val="50000"/>
                <a:hueOff val="206535"/>
                <a:satOff val="-4320"/>
                <a:lumOff val="24036"/>
                <a:alphaOff val="0"/>
                <a:tint val="74000"/>
              </a:schemeClr>
            </a:gs>
            <a:gs pos="49000">
              <a:schemeClr val="accent1">
                <a:shade val="50000"/>
                <a:hueOff val="206535"/>
                <a:satOff val="-4320"/>
                <a:lumOff val="24036"/>
                <a:alphaOff val="0"/>
                <a:tint val="96000"/>
                <a:shade val="84000"/>
                <a:satMod val="110000"/>
              </a:schemeClr>
            </a:gs>
            <a:gs pos="49100">
              <a:schemeClr val="accent1">
                <a:shade val="50000"/>
                <a:hueOff val="206535"/>
                <a:satOff val="-4320"/>
                <a:lumOff val="24036"/>
                <a:alphaOff val="0"/>
                <a:shade val="55000"/>
                <a:satMod val="150000"/>
              </a:schemeClr>
            </a:gs>
            <a:gs pos="92000">
              <a:schemeClr val="accent1">
                <a:shade val="50000"/>
                <a:hueOff val="206535"/>
                <a:satOff val="-4320"/>
                <a:lumOff val="24036"/>
                <a:alphaOff val="0"/>
                <a:tint val="98000"/>
                <a:shade val="90000"/>
                <a:satMod val="128000"/>
              </a:schemeClr>
            </a:gs>
            <a:gs pos="100000">
              <a:schemeClr val="accent1">
                <a:shade val="50000"/>
                <a:hueOff val="206535"/>
                <a:satOff val="-4320"/>
                <a:lumOff val="24036"/>
                <a:alphaOff val="0"/>
                <a:tint val="90000"/>
                <a:shade val="97000"/>
                <a:satMod val="128000"/>
              </a:schemeClr>
            </a:gs>
          </a:gsLst>
          <a:lin ang="5400000" scaled="1"/>
        </a:gradFill>
        <a:ln w="11430" cap="flat" cmpd="sng" algn="ctr">
          <a:solidFill>
            <a:schemeClr val="accent1">
              <a:shade val="50000"/>
              <a:hueOff val="206535"/>
              <a:satOff val="-4320"/>
              <a:lumOff val="24036"/>
              <a:alphaOff val="0"/>
            </a:schemeClr>
          </a:solidFill>
          <a:prstDash val="solid"/>
        </a:ln>
        <a:effectLst>
          <a:outerShdw blurRad="39000" dist="25400" dir="5400000" rotWithShape="0">
            <a:schemeClr val="accent1">
              <a:shade val="50000"/>
              <a:hueOff val="206535"/>
              <a:satOff val="-4320"/>
              <a:lumOff val="24036"/>
              <a:alphaOff val="0"/>
              <a:shade val="33000"/>
              <a:alpha val="83000"/>
            </a:schemeClr>
          </a:outerShdw>
        </a:effectLst>
        <a:scene3d>
          <a:camera prst="orthographicFront" fov="0">
            <a:rot lat="0" lon="0" rev="0"/>
          </a:camera>
          <a:lightRig rig="contrasting" dir="t">
            <a:rot lat="0" lon="0" rev="1500000"/>
          </a:lightRig>
        </a:scene3d>
        <a:sp3d extrusionH="127000" prstMaterial="powder">
          <a:bevelT w="50800" h="635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BFD6E7E4-AE29-498B-8753-92945F15F266}">
      <dsp:nvSpPr>
        <dsp:cNvPr id="0" name=""/>
        <dsp:cNvSpPr/>
      </dsp:nvSpPr>
      <dsp:spPr>
        <a:xfrm rot="5400000">
          <a:off x="6857508" y="469637"/>
          <a:ext cx="1171978" cy="1950146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shade val="50000"/>
                <a:hueOff val="103268"/>
                <a:satOff val="-2160"/>
                <a:lumOff val="12018"/>
                <a:alphaOff val="0"/>
                <a:tint val="74000"/>
              </a:schemeClr>
            </a:gs>
            <a:gs pos="49000">
              <a:schemeClr val="accent1">
                <a:shade val="50000"/>
                <a:hueOff val="103268"/>
                <a:satOff val="-2160"/>
                <a:lumOff val="12018"/>
                <a:alphaOff val="0"/>
                <a:tint val="96000"/>
                <a:shade val="84000"/>
                <a:satMod val="110000"/>
              </a:schemeClr>
            </a:gs>
            <a:gs pos="49100">
              <a:schemeClr val="accent1">
                <a:shade val="50000"/>
                <a:hueOff val="103268"/>
                <a:satOff val="-2160"/>
                <a:lumOff val="12018"/>
                <a:alphaOff val="0"/>
                <a:shade val="55000"/>
                <a:satMod val="150000"/>
              </a:schemeClr>
            </a:gs>
            <a:gs pos="92000">
              <a:schemeClr val="accent1">
                <a:shade val="50000"/>
                <a:hueOff val="103268"/>
                <a:satOff val="-2160"/>
                <a:lumOff val="12018"/>
                <a:alphaOff val="0"/>
                <a:tint val="98000"/>
                <a:shade val="90000"/>
                <a:satMod val="128000"/>
              </a:schemeClr>
            </a:gs>
            <a:gs pos="100000">
              <a:schemeClr val="accent1">
                <a:shade val="50000"/>
                <a:hueOff val="103268"/>
                <a:satOff val="-2160"/>
                <a:lumOff val="12018"/>
                <a:alphaOff val="0"/>
                <a:tint val="90000"/>
                <a:shade val="97000"/>
                <a:satMod val="128000"/>
              </a:schemeClr>
            </a:gs>
          </a:gsLst>
          <a:lin ang="5400000" scaled="1"/>
        </a:gradFill>
        <a:ln w="11430" cap="flat" cmpd="sng" algn="ctr">
          <a:solidFill>
            <a:schemeClr val="accent1">
              <a:shade val="50000"/>
              <a:hueOff val="103268"/>
              <a:satOff val="-2160"/>
              <a:lumOff val="12018"/>
              <a:alphaOff val="0"/>
            </a:schemeClr>
          </a:solidFill>
          <a:prstDash val="solid"/>
        </a:ln>
        <a:effectLst>
          <a:outerShdw blurRad="39000" dist="25400" dir="5400000" rotWithShape="0">
            <a:schemeClr val="accent1">
              <a:shade val="50000"/>
              <a:hueOff val="103268"/>
              <a:satOff val="-2160"/>
              <a:lumOff val="12018"/>
              <a:alphaOff val="0"/>
              <a:shade val="33000"/>
              <a:alpha val="83000"/>
            </a:schemeClr>
          </a:outerShdw>
        </a:effectLst>
        <a:scene3d>
          <a:camera prst="orthographicFront" fov="0">
            <a:rot lat="0" lon="0" rev="0"/>
          </a:camera>
          <a:lightRig rig="contrasting" dir="t">
            <a:rot lat="0" lon="0" rev="1500000"/>
          </a:lightRig>
        </a:scene3d>
        <a:sp3d extrusionH="127000" prstMaterial="powder">
          <a:bevelT w="50800" h="635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D8AE01D8-02DA-42C1-B373-969D1A87A3DA}">
      <dsp:nvSpPr>
        <dsp:cNvPr id="0" name=""/>
        <dsp:cNvSpPr/>
      </dsp:nvSpPr>
      <dsp:spPr>
        <a:xfrm>
          <a:off x="4550683" y="1589076"/>
          <a:ext cx="1760603" cy="15432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500" b="1" kern="1200" dirty="0" smtClean="0"/>
            <a:t>Karşılıklı Geribildirim ve Projelerin Belirlenmesi</a:t>
          </a:r>
          <a:endParaRPr lang="tr-TR" sz="1500" b="1" kern="1200" dirty="0"/>
        </a:p>
      </dsp:txBody>
      <dsp:txXfrm>
        <a:off x="4550683" y="1589076"/>
        <a:ext cx="1760603" cy="15432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/>
              <a:pPr/>
              <a:t>22.10.2019</a:t>
            </a:fld>
            <a:endParaRPr lang="tr-TR" dirty="0"/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/>
              <a:pPr/>
              <a:t>‹#›</a:t>
            </a:fld>
            <a:endParaRPr lang="tr-TR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/>
              <a:pPr/>
              <a:t>22.10.2019</a:t>
            </a:fld>
            <a:endParaRPr lang="tr-TR" dirty="0"/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/>
              <a:pPr/>
              <a:t>‹#›</a:t>
            </a:fld>
            <a:endParaRPr lang="tr-TR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Dikey Başlık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/>
              <a:pPr/>
              <a:t>22.10.2019</a:t>
            </a:fld>
            <a:endParaRPr lang="tr-TR" dirty="0"/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/>
              <a:pPr/>
              <a:t>‹#›</a:t>
            </a:fld>
            <a:endParaRPr lang="tr-TR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5543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58116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35810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26197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4 Metin Yer Tutucusu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5 İçerik Yer Tutucusu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6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2491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8221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4340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6740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/>
              <a:pPr/>
              <a:t>22.10.2019</a:t>
            </a:fld>
            <a:endParaRPr lang="tr-TR" dirty="0"/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/>
              <a:pPr/>
              <a:t>‹#›</a:t>
            </a:fld>
            <a:endParaRPr lang="tr-TR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Resim Yer Tutucusu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 dirty="0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9255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22168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Dikey Başlık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2912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871E9A-41E1-4796-B891-448372F14348}" type="datetime1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1602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BD54F-F263-4DC0-BA20-146D881008B7}" type="datetime1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8621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B3061-E6B7-450B-A61F-187FC7022858}" type="datetime1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97666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23D6FB-15DA-47B3-A360-EEB914105944}" type="datetime1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7445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4 Metin Yer Tutucusu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5 İçerik Yer Tutucusu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6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800AF-1E17-4753-B8F8-47C29E0CF6B8}" type="datetime1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1529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3E607-83F0-42D1-AC2E-A8C6ABF3FDE0}" type="datetime1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8075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B8E04-00E5-48D2-B281-8E48C8049E51}" type="datetime1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3306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/>
              <a:pPr/>
              <a:t>22.10.2019</a:t>
            </a:fld>
            <a:endParaRPr lang="tr-TR" dirty="0"/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/>
              <a:pPr/>
              <a:t>‹#›</a:t>
            </a:fld>
            <a:endParaRPr lang="tr-TR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0A6565-A2F0-4F98-A0F5-787653DB0121}" type="datetime1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7097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Resim Yer Tutucusu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 dirty="0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E47CD7-A326-4429-813C-35ED21923B34}" type="datetime1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6948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EDB0C1-E3AD-474B-A7E1-B3058CB67B7F}" type="datetime1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5021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Dikey Başlık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371B5-54E6-4B68-9425-D04FDDF47152}" type="datetime1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6591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14004" y="2870634"/>
            <a:ext cx="4449167" cy="711081"/>
          </a:xfrm>
        </p:spPr>
        <p:txBody>
          <a:bodyPr>
            <a:normAutofit/>
          </a:bodyPr>
          <a:lstStyle>
            <a:lvl1pPr algn="ctr">
              <a:defRPr sz="2701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smtClean="0"/>
              <a:t>SlideModel.com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84"/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84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84"/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1264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35F5554-A169-4B5C-8486-BB3EFED173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0744D9D-DFA5-4798-8518-1BC7F92295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0177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35F5554-A169-4B5C-8486-BB3EFED173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0744D9D-DFA5-4798-8518-1BC7F92295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1381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35F5554-A169-4B5C-8486-BB3EFED173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0744D9D-DFA5-4798-8518-1BC7F92295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0831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35F5554-A169-4B5C-8486-BB3EFED173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0744D9D-DFA5-4798-8518-1BC7F92295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39100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34591" y="2030414"/>
            <a:ext cx="1122017" cy="1591561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19001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/>
              <a:pPr/>
              <a:t>22.10.2019</a:t>
            </a:fld>
            <a:endParaRPr lang="tr-TR" dirty="0"/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/>
              <a:pPr/>
              <a:t>‹#›</a:t>
            </a:fld>
            <a:endParaRPr lang="tr-TR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35F5554-A169-4B5C-8486-BB3EFED173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0744D9D-DFA5-4798-8518-1BC7F92295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45714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35F5554-A169-4B5C-8486-BB3EFED173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0744D9D-DFA5-4798-8518-1BC7F92295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75261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35F5554-A169-4B5C-8486-BB3EFED173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0744D9D-DFA5-4798-8518-1BC7F92295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9102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35F5554-A169-4B5C-8486-BB3EFED173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0744D9D-DFA5-4798-8518-1BC7F92295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48665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35F5554-A169-4B5C-8486-BB3EFED173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0744D9D-DFA5-4798-8518-1BC7F92295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57575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35F5554-A169-4B5C-8486-BB3EFED173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0744D9D-DFA5-4798-8518-1BC7F92295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6068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35F5554-A169-4B5C-8486-BB3EFED173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20744D9D-DFA5-4798-8518-1BC7F92295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1024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86200"/>
            <a:ext cx="9144000" cy="2971800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alpha val="53000"/>
                </a:schemeClr>
              </a:gs>
              <a:gs pos="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95" tIns="34298" rIns="68595" bIns="34298" rtlCol="0" anchor="ctr"/>
          <a:lstStyle/>
          <a:p>
            <a:pPr marL="0" marR="0" lvl="0" indent="0" algn="ctr" defTabSz="9144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887117"/>
            <a:ext cx="7772400" cy="610820"/>
          </a:xfrm>
        </p:spPr>
        <p:txBody>
          <a:bodyPr/>
          <a:lstStyle>
            <a:lvl1pPr algn="ctr">
              <a:defRPr lang="en-US" sz="3001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399020"/>
            <a:ext cx="6400800" cy="764440"/>
          </a:xfrm>
        </p:spPr>
        <p:txBody>
          <a:bodyPr>
            <a:normAutofit/>
          </a:bodyPr>
          <a:lstStyle>
            <a:lvl1pPr marL="0" indent="0" algn="ctr">
              <a:buNone/>
              <a:defRPr lang="en-US" sz="18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84"/>
            <a:fld id="{9578D6DB-6798-42D2-B9AD-FC6F1C72FC3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84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84"/>
            <a:fld id="{E5EDE275-BE14-4364-AEA2-5F5667C0FD4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76786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9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2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4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9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84"/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84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84"/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58778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84"/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84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84"/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21963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4 Metin Yer Tutucusu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5 İçerik Yer Tutucusu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6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/>
              <a:pPr/>
              <a:t>22.10.2019</a:t>
            </a:fld>
            <a:endParaRPr lang="tr-TR" dirty="0"/>
          </a:p>
        </p:txBody>
      </p:sp>
      <p:sp>
        <p:nvSpPr>
          <p:cNvPr id="8" name="7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9" name="8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/>
              <a:pPr/>
              <a:t>‹#›</a:t>
            </a:fld>
            <a:endParaRPr lang="tr-TR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976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26">
                <a:solidFill>
                  <a:schemeClr val="tx1">
                    <a:tint val="75000"/>
                  </a:schemeClr>
                </a:solidFill>
              </a:defRPr>
            </a:lvl1pPr>
            <a:lvl2pPr marL="45724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84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3pPr>
            <a:lvl4pPr marL="1371726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4pPr>
            <a:lvl5pPr marL="1828967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5pPr>
            <a:lvl6pPr marL="2286210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6pPr>
            <a:lvl7pPr marL="2743451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7pPr>
            <a:lvl8pPr marL="3200693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8pPr>
            <a:lvl9pPr marL="3657935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84"/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84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84"/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42886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776"/>
            </a:lvl1pPr>
            <a:lvl2pPr>
              <a:defRPr sz="2401"/>
            </a:lvl2pPr>
            <a:lvl3pPr>
              <a:defRPr sz="2026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776"/>
            </a:lvl1pPr>
            <a:lvl2pPr>
              <a:defRPr sz="2401"/>
            </a:lvl2pPr>
            <a:lvl3pPr>
              <a:defRPr sz="2026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84"/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84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84"/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3540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4"/>
            <a:ext cx="4040188" cy="639763"/>
          </a:xfrm>
        </p:spPr>
        <p:txBody>
          <a:bodyPr anchor="b"/>
          <a:lstStyle>
            <a:lvl1pPr marL="0" indent="0">
              <a:buNone/>
              <a:defRPr sz="2401" b="1"/>
            </a:lvl1pPr>
            <a:lvl2pPr marL="457242" indent="0">
              <a:buNone/>
              <a:defRPr sz="2026" b="1"/>
            </a:lvl2pPr>
            <a:lvl3pPr marL="914484" indent="0">
              <a:buNone/>
              <a:defRPr sz="1800" b="1"/>
            </a:lvl3pPr>
            <a:lvl4pPr marL="1371726" indent="0">
              <a:buNone/>
              <a:defRPr sz="1575" b="1"/>
            </a:lvl4pPr>
            <a:lvl5pPr marL="1828967" indent="0">
              <a:buNone/>
              <a:defRPr sz="1575" b="1"/>
            </a:lvl5pPr>
            <a:lvl6pPr marL="2286210" indent="0">
              <a:buNone/>
              <a:defRPr sz="1575" b="1"/>
            </a:lvl6pPr>
            <a:lvl7pPr marL="2743451" indent="0">
              <a:buNone/>
              <a:defRPr sz="1575" b="1"/>
            </a:lvl7pPr>
            <a:lvl8pPr marL="3200693" indent="0">
              <a:buNone/>
              <a:defRPr sz="1575" b="1"/>
            </a:lvl8pPr>
            <a:lvl9pPr marL="3657935" indent="0">
              <a:buNone/>
              <a:defRPr sz="1575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1"/>
            </a:lvl1pPr>
            <a:lvl2pPr>
              <a:defRPr sz="2026"/>
            </a:lvl2pPr>
            <a:lvl3pPr>
              <a:defRPr sz="180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4"/>
            <a:ext cx="4041775" cy="639763"/>
          </a:xfrm>
        </p:spPr>
        <p:txBody>
          <a:bodyPr anchor="b"/>
          <a:lstStyle>
            <a:lvl1pPr marL="0" indent="0">
              <a:buNone/>
              <a:defRPr sz="2401" b="1"/>
            </a:lvl1pPr>
            <a:lvl2pPr marL="457242" indent="0">
              <a:buNone/>
              <a:defRPr sz="2026" b="1"/>
            </a:lvl2pPr>
            <a:lvl3pPr marL="914484" indent="0">
              <a:buNone/>
              <a:defRPr sz="1800" b="1"/>
            </a:lvl3pPr>
            <a:lvl4pPr marL="1371726" indent="0">
              <a:buNone/>
              <a:defRPr sz="1575" b="1"/>
            </a:lvl4pPr>
            <a:lvl5pPr marL="1828967" indent="0">
              <a:buNone/>
              <a:defRPr sz="1575" b="1"/>
            </a:lvl5pPr>
            <a:lvl6pPr marL="2286210" indent="0">
              <a:buNone/>
              <a:defRPr sz="1575" b="1"/>
            </a:lvl6pPr>
            <a:lvl7pPr marL="2743451" indent="0">
              <a:buNone/>
              <a:defRPr sz="1575" b="1"/>
            </a:lvl7pPr>
            <a:lvl8pPr marL="3200693" indent="0">
              <a:buNone/>
              <a:defRPr sz="1575" b="1"/>
            </a:lvl8pPr>
            <a:lvl9pPr marL="3657935" indent="0">
              <a:buNone/>
              <a:defRPr sz="1575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1"/>
            </a:lvl1pPr>
            <a:lvl2pPr>
              <a:defRPr sz="2026"/>
            </a:lvl2pPr>
            <a:lvl3pPr>
              <a:defRPr sz="1800"/>
            </a:lvl3pPr>
            <a:lvl4pPr>
              <a:defRPr sz="1575"/>
            </a:lvl4pPr>
            <a:lvl5pPr>
              <a:defRPr sz="1575"/>
            </a:lvl5pPr>
            <a:lvl6pPr>
              <a:defRPr sz="1575"/>
            </a:lvl6pPr>
            <a:lvl7pPr>
              <a:defRPr sz="1575"/>
            </a:lvl7pPr>
            <a:lvl8pPr>
              <a:defRPr sz="1575"/>
            </a:lvl8pPr>
            <a:lvl9pPr>
              <a:defRPr sz="157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84"/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84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84"/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00100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70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84"/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84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84"/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1779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84"/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84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84"/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433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1"/>
          </a:xfrm>
        </p:spPr>
        <p:txBody>
          <a:bodyPr anchor="b"/>
          <a:lstStyle>
            <a:lvl1pPr algn="l">
              <a:defRPr sz="2026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26"/>
            </a:lvl1pPr>
            <a:lvl2pPr>
              <a:defRPr sz="2776"/>
            </a:lvl2pPr>
            <a:lvl3pPr>
              <a:defRPr sz="2401"/>
            </a:lvl3pPr>
            <a:lvl4pPr>
              <a:defRPr sz="2026"/>
            </a:lvl4pPr>
            <a:lvl5pPr>
              <a:defRPr sz="2026"/>
            </a:lvl5pPr>
            <a:lvl6pPr>
              <a:defRPr sz="2026"/>
            </a:lvl6pPr>
            <a:lvl7pPr>
              <a:defRPr sz="2026"/>
            </a:lvl7pPr>
            <a:lvl8pPr>
              <a:defRPr sz="2026"/>
            </a:lvl8pPr>
            <a:lvl9pPr>
              <a:defRPr sz="2026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25"/>
            </a:lvl1pPr>
            <a:lvl2pPr marL="457242" indent="0">
              <a:buNone/>
              <a:defRPr sz="1200"/>
            </a:lvl2pPr>
            <a:lvl3pPr marL="914484" indent="0">
              <a:buNone/>
              <a:defRPr sz="975"/>
            </a:lvl3pPr>
            <a:lvl4pPr marL="1371726" indent="0">
              <a:buNone/>
              <a:defRPr sz="900"/>
            </a:lvl4pPr>
            <a:lvl5pPr marL="1828967" indent="0">
              <a:buNone/>
              <a:defRPr sz="900"/>
            </a:lvl5pPr>
            <a:lvl6pPr marL="2286210" indent="0">
              <a:buNone/>
              <a:defRPr sz="900"/>
            </a:lvl6pPr>
            <a:lvl7pPr marL="2743451" indent="0">
              <a:buNone/>
              <a:defRPr sz="900"/>
            </a:lvl7pPr>
            <a:lvl8pPr marL="3200693" indent="0">
              <a:buNone/>
              <a:defRPr sz="900"/>
            </a:lvl8pPr>
            <a:lvl9pPr marL="3657935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84"/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84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84"/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62526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26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26"/>
            </a:lvl1pPr>
            <a:lvl2pPr marL="457242" indent="0">
              <a:buNone/>
              <a:defRPr sz="2776"/>
            </a:lvl2pPr>
            <a:lvl3pPr marL="914484" indent="0">
              <a:buNone/>
              <a:defRPr sz="2401"/>
            </a:lvl3pPr>
            <a:lvl4pPr marL="1371726" indent="0">
              <a:buNone/>
              <a:defRPr sz="2026"/>
            </a:lvl4pPr>
            <a:lvl5pPr marL="1828967" indent="0">
              <a:buNone/>
              <a:defRPr sz="2026"/>
            </a:lvl5pPr>
            <a:lvl6pPr marL="2286210" indent="0">
              <a:buNone/>
              <a:defRPr sz="2026"/>
            </a:lvl6pPr>
            <a:lvl7pPr marL="2743451" indent="0">
              <a:buNone/>
              <a:defRPr sz="2026"/>
            </a:lvl7pPr>
            <a:lvl8pPr marL="3200693" indent="0">
              <a:buNone/>
              <a:defRPr sz="2026"/>
            </a:lvl8pPr>
            <a:lvl9pPr marL="3657935" indent="0">
              <a:buNone/>
              <a:defRPr sz="2026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25"/>
            </a:lvl1pPr>
            <a:lvl2pPr marL="457242" indent="0">
              <a:buNone/>
              <a:defRPr sz="1200"/>
            </a:lvl2pPr>
            <a:lvl3pPr marL="914484" indent="0">
              <a:buNone/>
              <a:defRPr sz="975"/>
            </a:lvl3pPr>
            <a:lvl4pPr marL="1371726" indent="0">
              <a:buNone/>
              <a:defRPr sz="900"/>
            </a:lvl4pPr>
            <a:lvl5pPr marL="1828967" indent="0">
              <a:buNone/>
              <a:defRPr sz="900"/>
            </a:lvl5pPr>
            <a:lvl6pPr marL="2286210" indent="0">
              <a:buNone/>
              <a:defRPr sz="900"/>
            </a:lvl6pPr>
            <a:lvl7pPr marL="2743451" indent="0">
              <a:buNone/>
              <a:defRPr sz="900"/>
            </a:lvl7pPr>
            <a:lvl8pPr marL="3200693" indent="0">
              <a:buNone/>
              <a:defRPr sz="900"/>
            </a:lvl8pPr>
            <a:lvl9pPr marL="3657935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84"/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84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84"/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96780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84"/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84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84"/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9934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84"/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84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84"/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87069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14004" y="2870634"/>
            <a:ext cx="4449167" cy="711081"/>
          </a:xfrm>
        </p:spPr>
        <p:txBody>
          <a:bodyPr>
            <a:normAutofit/>
          </a:bodyPr>
          <a:lstStyle>
            <a:lvl1pPr algn="ctr">
              <a:defRPr sz="2701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smtClean="0"/>
              <a:t>SlideModel.com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84"/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84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84"/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5820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/>
              <a:pPr/>
              <a:t>22.10.2019</a:t>
            </a:fld>
            <a:endParaRPr lang="tr-TR" dirty="0"/>
          </a:p>
        </p:txBody>
      </p:sp>
      <p:sp>
        <p:nvSpPr>
          <p:cNvPr id="4" name="3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5" name="4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/>
              <a:pPr/>
              <a:t>‹#›</a:t>
            </a:fld>
            <a:endParaRPr lang="tr-TR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/>
              <a:pPr/>
              <a:t>22.10.2019</a:t>
            </a:fld>
            <a:endParaRPr lang="tr-TR" dirty="0"/>
          </a:p>
        </p:txBody>
      </p:sp>
      <p:sp>
        <p:nvSpPr>
          <p:cNvPr id="3" name="2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/>
              <a:pPr/>
              <a:t>‹#›</a:t>
            </a:fld>
            <a:endParaRPr lang="tr-TR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/>
              <a:pPr/>
              <a:t>22.10.2019</a:t>
            </a:fld>
            <a:endParaRPr lang="tr-TR" dirty="0"/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/>
              <a:pPr/>
              <a:t>‹#›</a:t>
            </a:fld>
            <a:endParaRPr lang="tr-TR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Resim Yer Tutucusu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 dirty="0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75050-0E15-4C5B-92B0-66D068882F1F}" type="datetimeFigureOut">
              <a:rPr lang="tr-TR" smtClean="0"/>
              <a:pPr/>
              <a:t>22.10.2019</a:t>
            </a:fld>
            <a:endParaRPr lang="tr-TR" dirty="0"/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DEFA8C-F947-479F-BE07-76B6B3F80BF1}" type="slidenum">
              <a:rPr lang="tr-TR" smtClean="0"/>
              <a:pPr/>
              <a:t>‹#›</a:t>
            </a:fld>
            <a:endParaRPr lang="tr-TR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 Yer Tutucusu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F75050-0E15-4C5B-92B0-66D068882F1F}" type="datetimeFigureOut">
              <a:rPr lang="tr-TR" smtClean="0"/>
              <a:pPr/>
              <a:t>22.10.2019</a:t>
            </a:fld>
            <a:endParaRPr lang="tr-TR" dirty="0"/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 dirty="0"/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DEFA8C-F947-479F-BE07-76B6B3F80BF1}" type="slidenum">
              <a:rPr lang="tr-TR" smtClean="0"/>
              <a:pPr/>
              <a:t>‹#›</a:t>
            </a:fld>
            <a:endParaRPr lang="tr-T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 Yer Tutucusu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F75050-0E15-4C5B-92B0-66D068882F1F}" type="datetimeFigureOut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218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 Yer Tutucusu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3DB0D9-6440-415E-A82B-4370542286E0}" type="datetime1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22.10.2019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DEFA8C-F947-479F-BE07-76B6B3F80BF1}" type="slidenum">
              <a:rPr lang="tr-T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r-T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247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710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D35F5554-A169-4B5C-8486-BB3EFED173C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20744D9D-DFA5-4798-8518-1BC7F92295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530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81000">
              <a:srgbClr val="EEEEEE"/>
            </a:gs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711081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38426"/>
            <a:ext cx="8229600" cy="4987739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84"/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10/2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84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1" y="6356352"/>
            <a:ext cx="2133600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84"/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84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864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</p:sldLayoutIdLst>
  <p:txStyles>
    <p:titleStyle>
      <a:lvl1pPr algn="l" defTabSz="914484" rtl="0" eaLnBrk="1" latinLnBrk="0" hangingPunct="1">
        <a:spcBef>
          <a:spcPct val="0"/>
        </a:spcBef>
        <a:buNone/>
        <a:defRPr sz="27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31" indent="-342931" algn="l" defTabSz="914484" rtl="0" eaLnBrk="1" latinLnBrk="0" hangingPunct="1">
        <a:spcBef>
          <a:spcPct val="20000"/>
        </a:spcBef>
        <a:buFont typeface="Arial" pitchFamily="34" charset="0"/>
        <a:buChar char="•"/>
        <a:defRPr sz="2701" kern="1200">
          <a:solidFill>
            <a:schemeClr val="tx1"/>
          </a:solidFill>
          <a:latin typeface="+mj-lt"/>
          <a:ea typeface="+mn-ea"/>
          <a:cs typeface="+mn-cs"/>
        </a:defRPr>
      </a:lvl1pPr>
      <a:lvl2pPr marL="743018" indent="-285776" algn="l" defTabSz="914484" rtl="0" eaLnBrk="1" latinLnBrk="0" hangingPunct="1">
        <a:spcBef>
          <a:spcPct val="20000"/>
        </a:spcBef>
        <a:buFont typeface="Arial" pitchFamily="34" charset="0"/>
        <a:buChar char="–"/>
        <a:defRPr sz="2401" kern="1200">
          <a:solidFill>
            <a:schemeClr val="tx1"/>
          </a:solidFill>
          <a:latin typeface="+mj-lt"/>
          <a:ea typeface="+mn-ea"/>
          <a:cs typeface="+mn-cs"/>
        </a:defRPr>
      </a:lvl2pPr>
      <a:lvl3pPr marL="1143104" indent="-228621" algn="l" defTabSz="91448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347" indent="-228621" algn="l" defTabSz="914484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589" indent="-228621" algn="l" defTabSz="914484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830" indent="-228621" algn="l" defTabSz="914484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6pPr>
      <a:lvl7pPr marL="2972073" indent="-228621" algn="l" defTabSz="914484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7pPr>
      <a:lvl8pPr marL="3429314" indent="-228621" algn="l" defTabSz="914484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8pPr>
      <a:lvl9pPr marL="3886556" indent="-228621" algn="l" defTabSz="914484" rtl="0" eaLnBrk="1" latinLnBrk="0" hangingPunct="1">
        <a:spcBef>
          <a:spcPct val="20000"/>
        </a:spcBef>
        <a:buFont typeface="Arial" pitchFamily="34" charset="0"/>
        <a:buChar char="•"/>
        <a:defRPr sz="202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2" algn="l" defTabSz="9144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84" algn="l" defTabSz="9144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26" algn="l" defTabSz="9144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67" algn="l" defTabSz="9144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10" algn="l" defTabSz="9144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51" algn="l" defTabSz="9144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93" algn="l" defTabSz="9144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35" algn="l" defTabSz="9144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3.xml"/><Relationship Id="rId4" Type="http://schemas.openxmlformats.org/officeDocument/2006/relationships/image" Target="../media/image4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.xml"/><Relationship Id="rId4" Type="http://schemas.openxmlformats.org/officeDocument/2006/relationships/image" Target="../media/image4.jp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8032" y="3875856"/>
            <a:ext cx="7772400" cy="553998"/>
          </a:xfrm>
          <a:noFill/>
        </p:spPr>
        <p:txBody>
          <a:bodyPr wrap="square" rtlCol="0">
            <a:spAutoFit/>
          </a:bodyPr>
          <a:lstStyle/>
          <a:p>
            <a:r>
              <a:rPr lang="tr-TR" sz="3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rPr>
              <a:t>STARGATE</a:t>
            </a:r>
            <a:endParaRPr lang="tr-TR" sz="30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87624" y="4437113"/>
            <a:ext cx="6400800" cy="1401688"/>
          </a:xfrm>
        </p:spPr>
        <p:txBody>
          <a:bodyPr>
            <a:normAutofit/>
          </a:bodyPr>
          <a:lstStyle/>
          <a:p>
            <a:pPr lvl="1">
              <a:lnSpc>
                <a:spcPct val="90000"/>
              </a:lnSpc>
            </a:pPr>
            <a:r>
              <a:rPr lang="tr-TR" sz="1600" b="1" dirty="0" smtClean="0">
                <a:solidFill>
                  <a:schemeClr val="tx2">
                    <a:lumMod val="50000"/>
                  </a:schemeClr>
                </a:solidFill>
              </a:rPr>
              <a:t>WEB SAYFASI İÇERİKLERİ</a:t>
            </a:r>
            <a:endParaRPr lang="tr-TR" sz="1600" b="1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57623" y="352981"/>
            <a:ext cx="7489825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895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r-T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defTabSz="895350"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89535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kern="0" dirty="0" smtClean="0">
              <a:solidFill>
                <a:prstClr val="black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2" name="Slayt Numarası Yer Tutucusu 1"/>
          <p:cNvSpPr>
            <a:spLocks noGrp="1"/>
          </p:cNvSpPr>
          <p:nvPr>
            <p:ph type="sldNum" sz="quarter" idx="12"/>
          </p:nvPr>
        </p:nvSpPr>
        <p:spPr>
          <a:xfrm>
            <a:off x="6890568" y="6378495"/>
            <a:ext cx="2253431" cy="365125"/>
          </a:xfrm>
        </p:spPr>
        <p:txBody>
          <a:bodyPr/>
          <a:lstStyle/>
          <a:p>
            <a:fld id="{B1DEFA8C-F947-479F-BE07-76B6B3F80BF1}" type="slidenum">
              <a:rPr lang="tr-TR" sz="16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tr-TR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563252" y="489877"/>
            <a:ext cx="546083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tr-TR"/>
            </a:defPPr>
            <a:lvl1pPr>
              <a:defRPr sz="3000" b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tr-TR" dirty="0" err="1" smtClean="0"/>
              <a:t>Stargate</a:t>
            </a:r>
            <a:r>
              <a:rPr lang="tr-TR" dirty="0" smtClean="0"/>
              <a:t> Nedir</a:t>
            </a:r>
            <a:endParaRPr lang="tr-TR" dirty="0"/>
          </a:p>
        </p:txBody>
      </p:sp>
      <p:sp>
        <p:nvSpPr>
          <p:cNvPr id="4" name="Dikdörtgen 3"/>
          <p:cNvSpPr/>
          <p:nvPr/>
        </p:nvSpPr>
        <p:spPr>
          <a:xfrm>
            <a:off x="3192747" y="1827842"/>
            <a:ext cx="4824536" cy="3831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Clr>
                <a:srgbClr val="FFC000"/>
              </a:buClr>
            </a:pP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targate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, SEDAŞ 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dağıtım süreçlerinde yer alarak katılımcılara enerji sektörünü tanıma fırsatı 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sunan, Sakarya, Kocaeli, Bolu, Düzce ve Gebze bölgelerinde eğitim veren üniversitelerin mühendislik fakültelerinin Elektrik veya 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lektrik&amp;Elektronik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Mühendisliği bölümlerinde eğitimlerine devam eden son sınıf veya yüksek lisans öğrencilerinin katılabileceği bir 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programdır. </a:t>
            </a:r>
          </a:p>
        </p:txBody>
      </p:sp>
      <p:pic>
        <p:nvPicPr>
          <p:cNvPr id="7" name="Resim 6"/>
          <p:cNvPicPr>
            <a:picLocks noChangeAspect="1"/>
          </p:cNvPicPr>
          <p:nvPr/>
        </p:nvPicPr>
        <p:blipFill rotWithShape="1">
          <a:blip r:embed="rId4"/>
          <a:srcRect b="1155"/>
          <a:stretch/>
        </p:blipFill>
        <p:spPr>
          <a:xfrm>
            <a:off x="285931" y="2582942"/>
            <a:ext cx="2743383" cy="2304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9617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9525" y="352981"/>
            <a:ext cx="7489825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895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r-T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defTabSz="895350"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89535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kern="0" dirty="0" smtClean="0">
              <a:solidFill>
                <a:prstClr val="black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2" name="Slayt Numarası Yer Tutucusu 1"/>
          <p:cNvSpPr>
            <a:spLocks noGrp="1"/>
          </p:cNvSpPr>
          <p:nvPr>
            <p:ph type="sldNum" sz="quarter" idx="12"/>
          </p:nvPr>
        </p:nvSpPr>
        <p:spPr>
          <a:xfrm>
            <a:off x="8930630" y="4054850"/>
            <a:ext cx="2253431" cy="365125"/>
          </a:xfrm>
        </p:spPr>
        <p:txBody>
          <a:bodyPr/>
          <a:lstStyle/>
          <a:p>
            <a:fld id="{B1DEFA8C-F947-479F-BE07-76B6B3F80BF1}" type="slidenum">
              <a:rPr lang="tr-TR" sz="16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tr-TR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467544" y="476672"/>
            <a:ext cx="546083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tr-TR"/>
            </a:defPPr>
            <a:lvl1pPr>
              <a:defRPr sz="3000" b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tr-TR" dirty="0"/>
              <a:t>Programın Hedefi</a:t>
            </a:r>
          </a:p>
        </p:txBody>
      </p:sp>
      <p:sp>
        <p:nvSpPr>
          <p:cNvPr id="4" name="Dikdörtgen 3"/>
          <p:cNvSpPr/>
          <p:nvPr/>
        </p:nvSpPr>
        <p:spPr>
          <a:xfrm>
            <a:off x="419159" y="3368443"/>
            <a:ext cx="468052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85750" algn="just">
              <a:lnSpc>
                <a:spcPct val="150000"/>
              </a:lnSpc>
              <a:buClr>
                <a:srgbClr val="FFC000"/>
              </a:buClr>
              <a:buFont typeface="Wingdings 2" panose="05020102010507070707" pitchFamily="18" charset="2"/>
              <a:buChar char=""/>
            </a:pPr>
            <a:endParaRPr lang="tr-T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-285750">
              <a:lnSpc>
                <a:spcPct val="150000"/>
              </a:lnSpc>
              <a:buClr>
                <a:srgbClr val="FFC000"/>
              </a:buClr>
              <a:buFont typeface="Wingdings 2" panose="05020102010507070707" pitchFamily="18" charset="2"/>
              <a:buChar char=""/>
            </a:pPr>
            <a:endParaRPr lang="tr-T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-285750">
              <a:lnSpc>
                <a:spcPct val="150000"/>
              </a:lnSpc>
              <a:buClr>
                <a:srgbClr val="FFC000"/>
              </a:buClr>
              <a:buFont typeface="Wingdings 2" panose="05020102010507070707" pitchFamily="18" charset="2"/>
              <a:buChar char=""/>
            </a:pP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Yetenekli mühendislere  şirketimiz süreçlerini ve kültürünü tanıma fırsatı sunarak şirket kültürüne uygun çalışanları  kazanmak.</a:t>
            </a:r>
            <a:endParaRPr lang="tr-T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Dikdörtgen 6"/>
          <p:cNvSpPr/>
          <p:nvPr/>
        </p:nvSpPr>
        <p:spPr>
          <a:xfrm>
            <a:off x="439162" y="1423809"/>
            <a:ext cx="4924926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85750">
              <a:lnSpc>
                <a:spcPct val="150000"/>
              </a:lnSpc>
              <a:buClr>
                <a:srgbClr val="FFC000"/>
              </a:buClr>
              <a:buFont typeface="Wingdings 2" panose="05020102010507070707" pitchFamily="18" charset="2"/>
              <a:buChar char=""/>
            </a:pPr>
            <a:r>
              <a:rPr lang="tr-TR" altLang="tr-TR" dirty="0">
                <a:latin typeface="Arial" panose="020B0604020202020204" pitchFamily="34" charset="0"/>
                <a:cs typeface="Arial" panose="020B0604020202020204" pitchFamily="34" charset="0"/>
              </a:rPr>
              <a:t>Değişime her an hazır olan, e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nerjik, dinamik, yeni bakış açıları getirecek yetenekleri ş</a:t>
            </a:r>
            <a:r>
              <a:rPr lang="tr-TR" alt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irketimize </a:t>
            </a:r>
            <a:r>
              <a:rPr lang="tr-TR" altLang="tr-TR" dirty="0">
                <a:latin typeface="Arial" panose="020B0604020202020204" pitchFamily="34" charset="0"/>
                <a:cs typeface="Arial" panose="020B0604020202020204" pitchFamily="34" charset="0"/>
              </a:rPr>
              <a:t>kazandırarak 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dağıtım süreçlerimizin etkinliğini 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ve verimliliğini arttırmak.</a:t>
            </a:r>
            <a:endParaRPr lang="tr-T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Freeform 27"/>
          <p:cNvSpPr>
            <a:spLocks/>
          </p:cNvSpPr>
          <p:nvPr/>
        </p:nvSpPr>
        <p:spPr bwMode="auto">
          <a:xfrm>
            <a:off x="7183357" y="2223159"/>
            <a:ext cx="251921" cy="2440839"/>
          </a:xfrm>
          <a:custGeom>
            <a:avLst/>
            <a:gdLst>
              <a:gd name="T0" fmla="*/ 400 w 449"/>
              <a:gd name="T1" fmla="*/ 160 h 4361"/>
              <a:gd name="T2" fmla="*/ 320 w 449"/>
              <a:gd name="T3" fmla="*/ 483 h 4361"/>
              <a:gd name="T4" fmla="*/ 257 w 449"/>
              <a:gd name="T5" fmla="*/ 809 h 4361"/>
              <a:gd name="T6" fmla="*/ 210 w 449"/>
              <a:gd name="T7" fmla="*/ 1136 h 4361"/>
              <a:gd name="T8" fmla="*/ 177 w 449"/>
              <a:gd name="T9" fmla="*/ 1464 h 4361"/>
              <a:gd name="T10" fmla="*/ 158 w 449"/>
              <a:gd name="T11" fmla="*/ 1786 h 4361"/>
              <a:gd name="T12" fmla="*/ 149 w 449"/>
              <a:gd name="T13" fmla="*/ 2101 h 4361"/>
              <a:gd name="T14" fmla="*/ 149 w 449"/>
              <a:gd name="T15" fmla="*/ 2407 h 4361"/>
              <a:gd name="T16" fmla="*/ 159 w 449"/>
              <a:gd name="T17" fmla="*/ 2700 h 4361"/>
              <a:gd name="T18" fmla="*/ 176 w 449"/>
              <a:gd name="T19" fmla="*/ 2979 h 4361"/>
              <a:gd name="T20" fmla="*/ 197 w 449"/>
              <a:gd name="T21" fmla="*/ 3240 h 4361"/>
              <a:gd name="T22" fmla="*/ 221 w 449"/>
              <a:gd name="T23" fmla="*/ 3481 h 4361"/>
              <a:gd name="T24" fmla="*/ 247 w 449"/>
              <a:gd name="T25" fmla="*/ 3698 h 4361"/>
              <a:gd name="T26" fmla="*/ 273 w 449"/>
              <a:gd name="T27" fmla="*/ 3890 h 4361"/>
              <a:gd name="T28" fmla="*/ 299 w 449"/>
              <a:gd name="T29" fmla="*/ 4051 h 4361"/>
              <a:gd name="T30" fmla="*/ 320 w 449"/>
              <a:gd name="T31" fmla="*/ 4183 h 4361"/>
              <a:gd name="T32" fmla="*/ 338 w 449"/>
              <a:gd name="T33" fmla="*/ 4280 h 4361"/>
              <a:gd name="T34" fmla="*/ 351 w 449"/>
              <a:gd name="T35" fmla="*/ 4340 h 4361"/>
              <a:gd name="T36" fmla="*/ 355 w 449"/>
              <a:gd name="T37" fmla="*/ 4361 h 4361"/>
              <a:gd name="T38" fmla="*/ 133 w 449"/>
              <a:gd name="T39" fmla="*/ 4143 h 4361"/>
              <a:gd name="T40" fmla="*/ 68 w 449"/>
              <a:gd name="T41" fmla="*/ 3717 h 4361"/>
              <a:gd name="T42" fmla="*/ 27 w 449"/>
              <a:gd name="T43" fmla="*/ 3310 h 4361"/>
              <a:gd name="T44" fmla="*/ 5 w 449"/>
              <a:gd name="T45" fmla="*/ 2919 h 4361"/>
              <a:gd name="T46" fmla="*/ 0 w 449"/>
              <a:gd name="T47" fmla="*/ 2549 h 4361"/>
              <a:gd name="T48" fmla="*/ 10 w 449"/>
              <a:gd name="T49" fmla="*/ 2199 h 4361"/>
              <a:gd name="T50" fmla="*/ 32 w 449"/>
              <a:gd name="T51" fmla="*/ 1869 h 4361"/>
              <a:gd name="T52" fmla="*/ 66 w 449"/>
              <a:gd name="T53" fmla="*/ 1565 h 4361"/>
              <a:gd name="T54" fmla="*/ 107 w 449"/>
              <a:gd name="T55" fmla="*/ 1283 h 4361"/>
              <a:gd name="T56" fmla="*/ 153 w 449"/>
              <a:gd name="T57" fmla="*/ 1025 h 4361"/>
              <a:gd name="T58" fmla="*/ 203 w 449"/>
              <a:gd name="T59" fmla="*/ 794 h 4361"/>
              <a:gd name="T60" fmla="*/ 254 w 449"/>
              <a:gd name="T61" fmla="*/ 590 h 4361"/>
              <a:gd name="T62" fmla="*/ 304 w 449"/>
              <a:gd name="T63" fmla="*/ 414 h 4361"/>
              <a:gd name="T64" fmla="*/ 350 w 449"/>
              <a:gd name="T65" fmla="*/ 269 h 4361"/>
              <a:gd name="T66" fmla="*/ 389 w 449"/>
              <a:gd name="T67" fmla="*/ 153 h 4361"/>
              <a:gd name="T68" fmla="*/ 420 w 449"/>
              <a:gd name="T69" fmla="*/ 69 h 4361"/>
              <a:gd name="T70" fmla="*/ 441 w 449"/>
              <a:gd name="T71" fmla="*/ 18 h 4361"/>
              <a:gd name="T72" fmla="*/ 449 w 449"/>
              <a:gd name="T73" fmla="*/ 0 h 4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49" h="4361">
                <a:moveTo>
                  <a:pt x="449" y="0"/>
                </a:moveTo>
                <a:lnTo>
                  <a:pt x="400" y="160"/>
                </a:lnTo>
                <a:lnTo>
                  <a:pt x="358" y="320"/>
                </a:lnTo>
                <a:lnTo>
                  <a:pt x="320" y="483"/>
                </a:lnTo>
                <a:lnTo>
                  <a:pt x="286" y="646"/>
                </a:lnTo>
                <a:lnTo>
                  <a:pt x="257" y="809"/>
                </a:lnTo>
                <a:lnTo>
                  <a:pt x="231" y="973"/>
                </a:lnTo>
                <a:lnTo>
                  <a:pt x="210" y="1136"/>
                </a:lnTo>
                <a:lnTo>
                  <a:pt x="192" y="1301"/>
                </a:lnTo>
                <a:lnTo>
                  <a:pt x="177" y="1464"/>
                </a:lnTo>
                <a:lnTo>
                  <a:pt x="166" y="1625"/>
                </a:lnTo>
                <a:lnTo>
                  <a:pt x="158" y="1786"/>
                </a:lnTo>
                <a:lnTo>
                  <a:pt x="151" y="1944"/>
                </a:lnTo>
                <a:lnTo>
                  <a:pt x="149" y="2101"/>
                </a:lnTo>
                <a:lnTo>
                  <a:pt x="148" y="2256"/>
                </a:lnTo>
                <a:lnTo>
                  <a:pt x="149" y="2407"/>
                </a:lnTo>
                <a:lnTo>
                  <a:pt x="154" y="2555"/>
                </a:lnTo>
                <a:lnTo>
                  <a:pt x="159" y="2700"/>
                </a:lnTo>
                <a:lnTo>
                  <a:pt x="166" y="2842"/>
                </a:lnTo>
                <a:lnTo>
                  <a:pt x="176" y="2979"/>
                </a:lnTo>
                <a:lnTo>
                  <a:pt x="185" y="3113"/>
                </a:lnTo>
                <a:lnTo>
                  <a:pt x="197" y="3240"/>
                </a:lnTo>
                <a:lnTo>
                  <a:pt x="208" y="3364"/>
                </a:lnTo>
                <a:lnTo>
                  <a:pt x="221" y="3481"/>
                </a:lnTo>
                <a:lnTo>
                  <a:pt x="234" y="3592"/>
                </a:lnTo>
                <a:lnTo>
                  <a:pt x="247" y="3698"/>
                </a:lnTo>
                <a:lnTo>
                  <a:pt x="260" y="3797"/>
                </a:lnTo>
                <a:lnTo>
                  <a:pt x="273" y="3890"/>
                </a:lnTo>
                <a:lnTo>
                  <a:pt x="286" y="3975"/>
                </a:lnTo>
                <a:lnTo>
                  <a:pt x="299" y="4051"/>
                </a:lnTo>
                <a:lnTo>
                  <a:pt x="311" y="4121"/>
                </a:lnTo>
                <a:lnTo>
                  <a:pt x="320" y="4183"/>
                </a:lnTo>
                <a:lnTo>
                  <a:pt x="330" y="4236"/>
                </a:lnTo>
                <a:lnTo>
                  <a:pt x="338" y="4280"/>
                </a:lnTo>
                <a:lnTo>
                  <a:pt x="345" y="4315"/>
                </a:lnTo>
                <a:lnTo>
                  <a:pt x="351" y="4340"/>
                </a:lnTo>
                <a:lnTo>
                  <a:pt x="355" y="4356"/>
                </a:lnTo>
                <a:lnTo>
                  <a:pt x="355" y="4361"/>
                </a:lnTo>
                <a:lnTo>
                  <a:pt x="174" y="4361"/>
                </a:lnTo>
                <a:lnTo>
                  <a:pt x="133" y="4143"/>
                </a:lnTo>
                <a:lnTo>
                  <a:pt x="97" y="3928"/>
                </a:lnTo>
                <a:lnTo>
                  <a:pt x="68" y="3717"/>
                </a:lnTo>
                <a:lnTo>
                  <a:pt x="45" y="3510"/>
                </a:lnTo>
                <a:lnTo>
                  <a:pt x="27" y="3310"/>
                </a:lnTo>
                <a:lnTo>
                  <a:pt x="13" y="3111"/>
                </a:lnTo>
                <a:lnTo>
                  <a:pt x="5" y="2919"/>
                </a:lnTo>
                <a:lnTo>
                  <a:pt x="0" y="2731"/>
                </a:lnTo>
                <a:lnTo>
                  <a:pt x="0" y="2549"/>
                </a:lnTo>
                <a:lnTo>
                  <a:pt x="3" y="2371"/>
                </a:lnTo>
                <a:lnTo>
                  <a:pt x="10" y="2199"/>
                </a:lnTo>
                <a:lnTo>
                  <a:pt x="19" y="2032"/>
                </a:lnTo>
                <a:lnTo>
                  <a:pt x="32" y="1869"/>
                </a:lnTo>
                <a:lnTo>
                  <a:pt x="49" y="1715"/>
                </a:lnTo>
                <a:lnTo>
                  <a:pt x="66" y="1565"/>
                </a:lnTo>
                <a:lnTo>
                  <a:pt x="86" y="1420"/>
                </a:lnTo>
                <a:lnTo>
                  <a:pt x="107" y="1283"/>
                </a:lnTo>
                <a:lnTo>
                  <a:pt x="130" y="1151"/>
                </a:lnTo>
                <a:lnTo>
                  <a:pt x="153" y="1025"/>
                </a:lnTo>
                <a:lnTo>
                  <a:pt x="179" y="906"/>
                </a:lnTo>
                <a:lnTo>
                  <a:pt x="203" y="794"/>
                </a:lnTo>
                <a:lnTo>
                  <a:pt x="229" y="690"/>
                </a:lnTo>
                <a:lnTo>
                  <a:pt x="254" y="590"/>
                </a:lnTo>
                <a:lnTo>
                  <a:pt x="280" y="499"/>
                </a:lnTo>
                <a:lnTo>
                  <a:pt x="304" y="414"/>
                </a:lnTo>
                <a:lnTo>
                  <a:pt x="327" y="338"/>
                </a:lnTo>
                <a:lnTo>
                  <a:pt x="350" y="269"/>
                </a:lnTo>
                <a:lnTo>
                  <a:pt x="371" y="207"/>
                </a:lnTo>
                <a:lnTo>
                  <a:pt x="389" y="153"/>
                </a:lnTo>
                <a:lnTo>
                  <a:pt x="407" y="106"/>
                </a:lnTo>
                <a:lnTo>
                  <a:pt x="420" y="69"/>
                </a:lnTo>
                <a:lnTo>
                  <a:pt x="433" y="39"/>
                </a:lnTo>
                <a:lnTo>
                  <a:pt x="441" y="18"/>
                </a:lnTo>
                <a:lnTo>
                  <a:pt x="446" y="5"/>
                </a:lnTo>
                <a:lnTo>
                  <a:pt x="449" y="0"/>
                </a:lnTo>
                <a:close/>
              </a:path>
            </a:pathLst>
          </a:custGeom>
          <a:solidFill>
            <a:sysClr val="windowText" lastClr="000000">
              <a:lumMod val="65000"/>
              <a:lumOff val="35000"/>
            </a:sys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98" tIns="34299" rIns="68598" bIns="34299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149" name="Group 19"/>
          <p:cNvGrpSpPr/>
          <p:nvPr/>
        </p:nvGrpSpPr>
        <p:grpSpPr>
          <a:xfrm>
            <a:off x="6024519" y="3301384"/>
            <a:ext cx="1040155" cy="845337"/>
            <a:chOff x="4444416" y="3558130"/>
            <a:chExt cx="1386512" cy="1126822"/>
          </a:xfrm>
        </p:grpSpPr>
        <p:sp>
          <p:nvSpPr>
            <p:cNvPr id="150" name="Freeform 21"/>
            <p:cNvSpPr>
              <a:spLocks/>
            </p:cNvSpPr>
            <p:nvPr/>
          </p:nvSpPr>
          <p:spPr bwMode="auto">
            <a:xfrm>
              <a:off x="4444416" y="3558130"/>
              <a:ext cx="1386512" cy="1126822"/>
            </a:xfrm>
            <a:custGeom>
              <a:avLst/>
              <a:gdLst>
                <a:gd name="T0" fmla="*/ 995 w 1858"/>
                <a:gd name="T1" fmla="*/ 2 h 1511"/>
                <a:gd name="T2" fmla="*/ 1110 w 1858"/>
                <a:gd name="T3" fmla="*/ 12 h 1511"/>
                <a:gd name="T4" fmla="*/ 1223 w 1858"/>
                <a:gd name="T5" fmla="*/ 31 h 1511"/>
                <a:gd name="T6" fmla="*/ 1330 w 1858"/>
                <a:gd name="T7" fmla="*/ 59 h 1511"/>
                <a:gd name="T8" fmla="*/ 1433 w 1858"/>
                <a:gd name="T9" fmla="*/ 93 h 1511"/>
                <a:gd name="T10" fmla="*/ 1527 w 1858"/>
                <a:gd name="T11" fmla="*/ 129 h 1511"/>
                <a:gd name="T12" fmla="*/ 1613 w 1858"/>
                <a:gd name="T13" fmla="*/ 167 h 1511"/>
                <a:gd name="T14" fmla="*/ 1688 w 1858"/>
                <a:gd name="T15" fmla="*/ 204 h 1511"/>
                <a:gd name="T16" fmla="*/ 1752 w 1858"/>
                <a:gd name="T17" fmla="*/ 238 h 1511"/>
                <a:gd name="T18" fmla="*/ 1802 w 1858"/>
                <a:gd name="T19" fmla="*/ 268 h 1511"/>
                <a:gd name="T20" fmla="*/ 1836 w 1858"/>
                <a:gd name="T21" fmla="*/ 289 h 1511"/>
                <a:gd name="T22" fmla="*/ 1856 w 1858"/>
                <a:gd name="T23" fmla="*/ 300 h 1511"/>
                <a:gd name="T24" fmla="*/ 1833 w 1858"/>
                <a:gd name="T25" fmla="*/ 431 h 1511"/>
                <a:gd name="T26" fmla="*/ 1778 w 1858"/>
                <a:gd name="T27" fmla="*/ 664 h 1511"/>
                <a:gd name="T28" fmla="*/ 1709 w 1858"/>
                <a:gd name="T29" fmla="*/ 862 h 1511"/>
                <a:gd name="T30" fmla="*/ 1631 w 1858"/>
                <a:gd name="T31" fmla="*/ 1030 h 1511"/>
                <a:gd name="T32" fmla="*/ 1545 w 1858"/>
                <a:gd name="T33" fmla="*/ 1169 h 1511"/>
                <a:gd name="T34" fmla="*/ 1451 w 1858"/>
                <a:gd name="T35" fmla="*/ 1280 h 1511"/>
                <a:gd name="T36" fmla="*/ 1350 w 1858"/>
                <a:gd name="T37" fmla="*/ 1368 h 1511"/>
                <a:gd name="T38" fmla="*/ 1246 w 1858"/>
                <a:gd name="T39" fmla="*/ 1431 h 1511"/>
                <a:gd name="T40" fmla="*/ 1136 w 1858"/>
                <a:gd name="T41" fmla="*/ 1475 h 1511"/>
                <a:gd name="T42" fmla="*/ 1026 w 1858"/>
                <a:gd name="T43" fmla="*/ 1501 h 1511"/>
                <a:gd name="T44" fmla="*/ 913 w 1858"/>
                <a:gd name="T45" fmla="*/ 1511 h 1511"/>
                <a:gd name="T46" fmla="*/ 803 w 1858"/>
                <a:gd name="T47" fmla="*/ 1506 h 1511"/>
                <a:gd name="T48" fmla="*/ 694 w 1858"/>
                <a:gd name="T49" fmla="*/ 1490 h 1511"/>
                <a:gd name="T50" fmla="*/ 588 w 1858"/>
                <a:gd name="T51" fmla="*/ 1465 h 1511"/>
                <a:gd name="T52" fmla="*/ 487 w 1858"/>
                <a:gd name="T53" fmla="*/ 1433 h 1511"/>
                <a:gd name="T54" fmla="*/ 393 w 1858"/>
                <a:gd name="T55" fmla="*/ 1394 h 1511"/>
                <a:gd name="T56" fmla="*/ 305 w 1858"/>
                <a:gd name="T57" fmla="*/ 1353 h 1511"/>
                <a:gd name="T58" fmla="*/ 225 w 1858"/>
                <a:gd name="T59" fmla="*/ 1312 h 1511"/>
                <a:gd name="T60" fmla="*/ 155 w 1858"/>
                <a:gd name="T61" fmla="*/ 1271 h 1511"/>
                <a:gd name="T62" fmla="*/ 96 w 1858"/>
                <a:gd name="T63" fmla="*/ 1236 h 1511"/>
                <a:gd name="T64" fmla="*/ 51 w 1858"/>
                <a:gd name="T65" fmla="*/ 1205 h 1511"/>
                <a:gd name="T66" fmla="*/ 20 w 1858"/>
                <a:gd name="T67" fmla="*/ 1183 h 1511"/>
                <a:gd name="T68" fmla="*/ 4 w 1858"/>
                <a:gd name="T69" fmla="*/ 1170 h 1511"/>
                <a:gd name="T70" fmla="*/ 20 w 1858"/>
                <a:gd name="T71" fmla="*/ 1043 h 1511"/>
                <a:gd name="T72" fmla="*/ 69 w 1858"/>
                <a:gd name="T73" fmla="*/ 818 h 1511"/>
                <a:gd name="T74" fmla="*/ 131 w 1858"/>
                <a:gd name="T75" fmla="*/ 625 h 1511"/>
                <a:gd name="T76" fmla="*/ 205 w 1858"/>
                <a:gd name="T77" fmla="*/ 463 h 1511"/>
                <a:gd name="T78" fmla="*/ 290 w 1858"/>
                <a:gd name="T79" fmla="*/ 330 h 1511"/>
                <a:gd name="T80" fmla="*/ 384 w 1858"/>
                <a:gd name="T81" fmla="*/ 222 h 1511"/>
                <a:gd name="T82" fmla="*/ 487 w 1858"/>
                <a:gd name="T83" fmla="*/ 139 h 1511"/>
                <a:gd name="T84" fmla="*/ 594 w 1858"/>
                <a:gd name="T85" fmla="*/ 77 h 1511"/>
                <a:gd name="T86" fmla="*/ 707 w 1858"/>
                <a:gd name="T87" fmla="*/ 35 h 1511"/>
                <a:gd name="T88" fmla="*/ 821 w 1858"/>
                <a:gd name="T89" fmla="*/ 10 h 1511"/>
                <a:gd name="T90" fmla="*/ 936 w 1858"/>
                <a:gd name="T91" fmla="*/ 0 h 1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58" h="1511">
                  <a:moveTo>
                    <a:pt x="936" y="0"/>
                  </a:moveTo>
                  <a:lnTo>
                    <a:pt x="995" y="2"/>
                  </a:lnTo>
                  <a:lnTo>
                    <a:pt x="1052" y="5"/>
                  </a:lnTo>
                  <a:lnTo>
                    <a:pt x="1110" y="12"/>
                  </a:lnTo>
                  <a:lnTo>
                    <a:pt x="1166" y="20"/>
                  </a:lnTo>
                  <a:lnTo>
                    <a:pt x="1223" y="31"/>
                  </a:lnTo>
                  <a:lnTo>
                    <a:pt x="1276" y="44"/>
                  </a:lnTo>
                  <a:lnTo>
                    <a:pt x="1330" y="59"/>
                  </a:lnTo>
                  <a:lnTo>
                    <a:pt x="1382" y="75"/>
                  </a:lnTo>
                  <a:lnTo>
                    <a:pt x="1433" y="93"/>
                  </a:lnTo>
                  <a:lnTo>
                    <a:pt x="1480" y="111"/>
                  </a:lnTo>
                  <a:lnTo>
                    <a:pt x="1527" y="129"/>
                  </a:lnTo>
                  <a:lnTo>
                    <a:pt x="1571" y="149"/>
                  </a:lnTo>
                  <a:lnTo>
                    <a:pt x="1613" y="167"/>
                  </a:lnTo>
                  <a:lnTo>
                    <a:pt x="1652" y="186"/>
                  </a:lnTo>
                  <a:lnTo>
                    <a:pt x="1688" y="204"/>
                  </a:lnTo>
                  <a:lnTo>
                    <a:pt x="1722" y="222"/>
                  </a:lnTo>
                  <a:lnTo>
                    <a:pt x="1752" y="238"/>
                  </a:lnTo>
                  <a:lnTo>
                    <a:pt x="1779" y="253"/>
                  </a:lnTo>
                  <a:lnTo>
                    <a:pt x="1802" y="268"/>
                  </a:lnTo>
                  <a:lnTo>
                    <a:pt x="1822" y="279"/>
                  </a:lnTo>
                  <a:lnTo>
                    <a:pt x="1836" y="289"/>
                  </a:lnTo>
                  <a:lnTo>
                    <a:pt x="1848" y="295"/>
                  </a:lnTo>
                  <a:lnTo>
                    <a:pt x="1856" y="300"/>
                  </a:lnTo>
                  <a:lnTo>
                    <a:pt x="1858" y="302"/>
                  </a:lnTo>
                  <a:lnTo>
                    <a:pt x="1833" y="431"/>
                  </a:lnTo>
                  <a:lnTo>
                    <a:pt x="1807" y="551"/>
                  </a:lnTo>
                  <a:lnTo>
                    <a:pt x="1778" y="664"/>
                  </a:lnTo>
                  <a:lnTo>
                    <a:pt x="1745" y="766"/>
                  </a:lnTo>
                  <a:lnTo>
                    <a:pt x="1709" y="862"/>
                  </a:lnTo>
                  <a:lnTo>
                    <a:pt x="1672" y="950"/>
                  </a:lnTo>
                  <a:lnTo>
                    <a:pt x="1631" y="1030"/>
                  </a:lnTo>
                  <a:lnTo>
                    <a:pt x="1589" y="1104"/>
                  </a:lnTo>
                  <a:lnTo>
                    <a:pt x="1545" y="1169"/>
                  </a:lnTo>
                  <a:lnTo>
                    <a:pt x="1498" y="1227"/>
                  </a:lnTo>
                  <a:lnTo>
                    <a:pt x="1451" y="1280"/>
                  </a:lnTo>
                  <a:lnTo>
                    <a:pt x="1400" y="1327"/>
                  </a:lnTo>
                  <a:lnTo>
                    <a:pt x="1350" y="1368"/>
                  </a:lnTo>
                  <a:lnTo>
                    <a:pt x="1298" y="1402"/>
                  </a:lnTo>
                  <a:lnTo>
                    <a:pt x="1246" y="1431"/>
                  </a:lnTo>
                  <a:lnTo>
                    <a:pt x="1190" y="1456"/>
                  </a:lnTo>
                  <a:lnTo>
                    <a:pt x="1136" y="1475"/>
                  </a:lnTo>
                  <a:lnTo>
                    <a:pt x="1081" y="1490"/>
                  </a:lnTo>
                  <a:lnTo>
                    <a:pt x="1026" y="1501"/>
                  </a:lnTo>
                  <a:lnTo>
                    <a:pt x="970" y="1508"/>
                  </a:lnTo>
                  <a:lnTo>
                    <a:pt x="913" y="1511"/>
                  </a:lnTo>
                  <a:lnTo>
                    <a:pt x="858" y="1509"/>
                  </a:lnTo>
                  <a:lnTo>
                    <a:pt x="803" y="1506"/>
                  </a:lnTo>
                  <a:lnTo>
                    <a:pt x="749" y="1500"/>
                  </a:lnTo>
                  <a:lnTo>
                    <a:pt x="694" y="1490"/>
                  </a:lnTo>
                  <a:lnTo>
                    <a:pt x="642" y="1478"/>
                  </a:lnTo>
                  <a:lnTo>
                    <a:pt x="588" y="1465"/>
                  </a:lnTo>
                  <a:lnTo>
                    <a:pt x="537" y="1449"/>
                  </a:lnTo>
                  <a:lnTo>
                    <a:pt x="487" y="1433"/>
                  </a:lnTo>
                  <a:lnTo>
                    <a:pt x="440" y="1413"/>
                  </a:lnTo>
                  <a:lnTo>
                    <a:pt x="393" y="1394"/>
                  </a:lnTo>
                  <a:lnTo>
                    <a:pt x="347" y="1374"/>
                  </a:lnTo>
                  <a:lnTo>
                    <a:pt x="305" y="1353"/>
                  </a:lnTo>
                  <a:lnTo>
                    <a:pt x="264" y="1333"/>
                  </a:lnTo>
                  <a:lnTo>
                    <a:pt x="225" y="1312"/>
                  </a:lnTo>
                  <a:lnTo>
                    <a:pt x="189" y="1293"/>
                  </a:lnTo>
                  <a:lnTo>
                    <a:pt x="155" y="1271"/>
                  </a:lnTo>
                  <a:lnTo>
                    <a:pt x="124" y="1254"/>
                  </a:lnTo>
                  <a:lnTo>
                    <a:pt x="96" y="1236"/>
                  </a:lnTo>
                  <a:lnTo>
                    <a:pt x="72" y="1219"/>
                  </a:lnTo>
                  <a:lnTo>
                    <a:pt x="51" y="1205"/>
                  </a:lnTo>
                  <a:lnTo>
                    <a:pt x="35" y="1193"/>
                  </a:lnTo>
                  <a:lnTo>
                    <a:pt x="20" y="1183"/>
                  </a:lnTo>
                  <a:lnTo>
                    <a:pt x="10" y="1175"/>
                  </a:lnTo>
                  <a:lnTo>
                    <a:pt x="4" y="1170"/>
                  </a:lnTo>
                  <a:lnTo>
                    <a:pt x="0" y="1169"/>
                  </a:lnTo>
                  <a:lnTo>
                    <a:pt x="20" y="1043"/>
                  </a:lnTo>
                  <a:lnTo>
                    <a:pt x="43" y="926"/>
                  </a:lnTo>
                  <a:lnTo>
                    <a:pt x="69" y="818"/>
                  </a:lnTo>
                  <a:lnTo>
                    <a:pt x="98" y="717"/>
                  </a:lnTo>
                  <a:lnTo>
                    <a:pt x="131" y="625"/>
                  </a:lnTo>
                  <a:lnTo>
                    <a:pt x="166" y="540"/>
                  </a:lnTo>
                  <a:lnTo>
                    <a:pt x="205" y="463"/>
                  </a:lnTo>
                  <a:lnTo>
                    <a:pt x="248" y="393"/>
                  </a:lnTo>
                  <a:lnTo>
                    <a:pt x="290" y="330"/>
                  </a:lnTo>
                  <a:lnTo>
                    <a:pt x="337" y="273"/>
                  </a:lnTo>
                  <a:lnTo>
                    <a:pt x="384" y="222"/>
                  </a:lnTo>
                  <a:lnTo>
                    <a:pt x="435" y="176"/>
                  </a:lnTo>
                  <a:lnTo>
                    <a:pt x="487" y="139"/>
                  </a:lnTo>
                  <a:lnTo>
                    <a:pt x="539" y="105"/>
                  </a:lnTo>
                  <a:lnTo>
                    <a:pt x="594" y="77"/>
                  </a:lnTo>
                  <a:lnTo>
                    <a:pt x="650" y="53"/>
                  </a:lnTo>
                  <a:lnTo>
                    <a:pt x="707" y="35"/>
                  </a:lnTo>
                  <a:lnTo>
                    <a:pt x="764" y="20"/>
                  </a:lnTo>
                  <a:lnTo>
                    <a:pt x="821" y="10"/>
                  </a:lnTo>
                  <a:lnTo>
                    <a:pt x="879" y="4"/>
                  </a:lnTo>
                  <a:lnTo>
                    <a:pt x="936" y="0"/>
                  </a:lnTo>
                  <a:close/>
                </a:path>
              </a:pathLst>
            </a:custGeom>
            <a:solidFill>
              <a:srgbClr val="14789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1" name="Freeform 28"/>
            <p:cNvSpPr>
              <a:spLocks/>
            </p:cNvSpPr>
            <p:nvPr/>
          </p:nvSpPr>
          <p:spPr bwMode="auto">
            <a:xfrm>
              <a:off x="4553366" y="3559622"/>
              <a:ext cx="1277562" cy="804447"/>
            </a:xfrm>
            <a:custGeom>
              <a:avLst/>
              <a:gdLst>
                <a:gd name="T0" fmla="*/ 843 w 1711"/>
                <a:gd name="T1" fmla="*/ 0 h 1079"/>
                <a:gd name="T2" fmla="*/ 970 w 1711"/>
                <a:gd name="T3" fmla="*/ 11 h 1079"/>
                <a:gd name="T4" fmla="*/ 1092 w 1711"/>
                <a:gd name="T5" fmla="*/ 34 h 1079"/>
                <a:gd name="T6" fmla="*/ 1211 w 1711"/>
                <a:gd name="T7" fmla="*/ 65 h 1079"/>
                <a:gd name="T8" fmla="*/ 1320 w 1711"/>
                <a:gd name="T9" fmla="*/ 103 h 1079"/>
                <a:gd name="T10" fmla="*/ 1421 w 1711"/>
                <a:gd name="T11" fmla="*/ 145 h 1079"/>
                <a:gd name="T12" fmla="*/ 1509 w 1711"/>
                <a:gd name="T13" fmla="*/ 186 h 1079"/>
                <a:gd name="T14" fmla="*/ 1585 w 1711"/>
                <a:gd name="T15" fmla="*/ 225 h 1079"/>
                <a:gd name="T16" fmla="*/ 1644 w 1711"/>
                <a:gd name="T17" fmla="*/ 259 h 1079"/>
                <a:gd name="T18" fmla="*/ 1686 w 1711"/>
                <a:gd name="T19" fmla="*/ 284 h 1079"/>
                <a:gd name="T20" fmla="*/ 1707 w 1711"/>
                <a:gd name="T21" fmla="*/ 298 h 1079"/>
                <a:gd name="T22" fmla="*/ 1688 w 1711"/>
                <a:gd name="T23" fmla="*/ 424 h 1079"/>
                <a:gd name="T24" fmla="*/ 1634 w 1711"/>
                <a:gd name="T25" fmla="*/ 649 h 1079"/>
                <a:gd name="T26" fmla="*/ 1569 w 1711"/>
                <a:gd name="T27" fmla="*/ 843 h 1079"/>
                <a:gd name="T28" fmla="*/ 1496 w 1711"/>
                <a:gd name="T29" fmla="*/ 1007 h 1079"/>
                <a:gd name="T30" fmla="*/ 1465 w 1711"/>
                <a:gd name="T31" fmla="*/ 1007 h 1079"/>
                <a:gd name="T32" fmla="*/ 1470 w 1711"/>
                <a:gd name="T33" fmla="*/ 875 h 1079"/>
                <a:gd name="T34" fmla="*/ 1458 w 1711"/>
                <a:gd name="T35" fmla="*/ 755 h 1079"/>
                <a:gd name="T36" fmla="*/ 1439 w 1711"/>
                <a:gd name="T37" fmla="*/ 653 h 1079"/>
                <a:gd name="T38" fmla="*/ 1414 w 1711"/>
                <a:gd name="T39" fmla="*/ 574 h 1079"/>
                <a:gd name="T40" fmla="*/ 1393 w 1711"/>
                <a:gd name="T41" fmla="*/ 517 h 1079"/>
                <a:gd name="T42" fmla="*/ 1380 w 1711"/>
                <a:gd name="T43" fmla="*/ 486 h 1079"/>
                <a:gd name="T44" fmla="*/ 1269 w 1711"/>
                <a:gd name="T45" fmla="*/ 445 h 1079"/>
                <a:gd name="T46" fmla="*/ 1064 w 1711"/>
                <a:gd name="T47" fmla="*/ 393 h 1079"/>
                <a:gd name="T48" fmla="*/ 877 w 1711"/>
                <a:gd name="T49" fmla="*/ 363 h 1079"/>
                <a:gd name="T50" fmla="*/ 708 w 1711"/>
                <a:gd name="T51" fmla="*/ 355 h 1079"/>
                <a:gd name="T52" fmla="*/ 555 w 1711"/>
                <a:gd name="T53" fmla="*/ 365 h 1079"/>
                <a:gd name="T54" fmla="*/ 418 w 1711"/>
                <a:gd name="T55" fmla="*/ 390 h 1079"/>
                <a:gd name="T56" fmla="*/ 298 w 1711"/>
                <a:gd name="T57" fmla="*/ 424 h 1079"/>
                <a:gd name="T58" fmla="*/ 194 w 1711"/>
                <a:gd name="T59" fmla="*/ 466 h 1079"/>
                <a:gd name="T60" fmla="*/ 104 w 1711"/>
                <a:gd name="T61" fmla="*/ 513 h 1079"/>
                <a:gd name="T62" fmla="*/ 31 w 1711"/>
                <a:gd name="T63" fmla="*/ 561 h 1079"/>
                <a:gd name="T64" fmla="*/ 41 w 1711"/>
                <a:gd name="T65" fmla="*/ 495 h 1079"/>
                <a:gd name="T66" fmla="*/ 132 w 1711"/>
                <a:gd name="T67" fmla="*/ 342 h 1079"/>
                <a:gd name="T68" fmla="*/ 236 w 1711"/>
                <a:gd name="T69" fmla="*/ 223 h 1079"/>
                <a:gd name="T70" fmla="*/ 347 w 1711"/>
                <a:gd name="T71" fmla="*/ 132 h 1079"/>
                <a:gd name="T72" fmla="*/ 465 w 1711"/>
                <a:gd name="T73" fmla="*/ 67 h 1079"/>
                <a:gd name="T74" fmla="*/ 589 w 1711"/>
                <a:gd name="T75" fmla="*/ 24 h 1079"/>
                <a:gd name="T76" fmla="*/ 716 w 1711"/>
                <a:gd name="T77" fmla="*/ 3 h 1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11" h="1079">
                  <a:moveTo>
                    <a:pt x="780" y="0"/>
                  </a:moveTo>
                  <a:lnTo>
                    <a:pt x="843" y="0"/>
                  </a:lnTo>
                  <a:lnTo>
                    <a:pt x="906" y="3"/>
                  </a:lnTo>
                  <a:lnTo>
                    <a:pt x="970" y="11"/>
                  </a:lnTo>
                  <a:lnTo>
                    <a:pt x="1032" y="21"/>
                  </a:lnTo>
                  <a:lnTo>
                    <a:pt x="1092" y="34"/>
                  </a:lnTo>
                  <a:lnTo>
                    <a:pt x="1152" y="49"/>
                  </a:lnTo>
                  <a:lnTo>
                    <a:pt x="1211" y="65"/>
                  </a:lnTo>
                  <a:lnTo>
                    <a:pt x="1266" y="83"/>
                  </a:lnTo>
                  <a:lnTo>
                    <a:pt x="1320" y="103"/>
                  </a:lnTo>
                  <a:lnTo>
                    <a:pt x="1372" y="124"/>
                  </a:lnTo>
                  <a:lnTo>
                    <a:pt x="1421" y="145"/>
                  </a:lnTo>
                  <a:lnTo>
                    <a:pt x="1466" y="166"/>
                  </a:lnTo>
                  <a:lnTo>
                    <a:pt x="1509" y="186"/>
                  </a:lnTo>
                  <a:lnTo>
                    <a:pt x="1549" y="205"/>
                  </a:lnTo>
                  <a:lnTo>
                    <a:pt x="1585" y="225"/>
                  </a:lnTo>
                  <a:lnTo>
                    <a:pt x="1616" y="243"/>
                  </a:lnTo>
                  <a:lnTo>
                    <a:pt x="1644" y="259"/>
                  </a:lnTo>
                  <a:lnTo>
                    <a:pt x="1667" y="272"/>
                  </a:lnTo>
                  <a:lnTo>
                    <a:pt x="1686" y="284"/>
                  </a:lnTo>
                  <a:lnTo>
                    <a:pt x="1699" y="292"/>
                  </a:lnTo>
                  <a:lnTo>
                    <a:pt x="1707" y="298"/>
                  </a:lnTo>
                  <a:lnTo>
                    <a:pt x="1711" y="300"/>
                  </a:lnTo>
                  <a:lnTo>
                    <a:pt x="1688" y="424"/>
                  </a:lnTo>
                  <a:lnTo>
                    <a:pt x="1662" y="541"/>
                  </a:lnTo>
                  <a:lnTo>
                    <a:pt x="1634" y="649"/>
                  </a:lnTo>
                  <a:lnTo>
                    <a:pt x="1603" y="750"/>
                  </a:lnTo>
                  <a:lnTo>
                    <a:pt x="1569" y="843"/>
                  </a:lnTo>
                  <a:lnTo>
                    <a:pt x="1533" y="929"/>
                  </a:lnTo>
                  <a:lnTo>
                    <a:pt x="1496" y="1007"/>
                  </a:lnTo>
                  <a:lnTo>
                    <a:pt x="1455" y="1079"/>
                  </a:lnTo>
                  <a:lnTo>
                    <a:pt x="1465" y="1007"/>
                  </a:lnTo>
                  <a:lnTo>
                    <a:pt x="1470" y="940"/>
                  </a:lnTo>
                  <a:lnTo>
                    <a:pt x="1470" y="875"/>
                  </a:lnTo>
                  <a:lnTo>
                    <a:pt x="1465" y="813"/>
                  </a:lnTo>
                  <a:lnTo>
                    <a:pt x="1458" y="755"/>
                  </a:lnTo>
                  <a:lnTo>
                    <a:pt x="1448" y="702"/>
                  </a:lnTo>
                  <a:lnTo>
                    <a:pt x="1439" y="653"/>
                  </a:lnTo>
                  <a:lnTo>
                    <a:pt x="1427" y="611"/>
                  </a:lnTo>
                  <a:lnTo>
                    <a:pt x="1414" y="574"/>
                  </a:lnTo>
                  <a:lnTo>
                    <a:pt x="1403" y="541"/>
                  </a:lnTo>
                  <a:lnTo>
                    <a:pt x="1393" y="517"/>
                  </a:lnTo>
                  <a:lnTo>
                    <a:pt x="1385" y="497"/>
                  </a:lnTo>
                  <a:lnTo>
                    <a:pt x="1380" y="486"/>
                  </a:lnTo>
                  <a:lnTo>
                    <a:pt x="1378" y="482"/>
                  </a:lnTo>
                  <a:lnTo>
                    <a:pt x="1269" y="445"/>
                  </a:lnTo>
                  <a:lnTo>
                    <a:pt x="1164" y="416"/>
                  </a:lnTo>
                  <a:lnTo>
                    <a:pt x="1064" y="393"/>
                  </a:lnTo>
                  <a:lnTo>
                    <a:pt x="968" y="375"/>
                  </a:lnTo>
                  <a:lnTo>
                    <a:pt x="877" y="363"/>
                  </a:lnTo>
                  <a:lnTo>
                    <a:pt x="791" y="357"/>
                  </a:lnTo>
                  <a:lnTo>
                    <a:pt x="708" y="355"/>
                  </a:lnTo>
                  <a:lnTo>
                    <a:pt x="628" y="359"/>
                  </a:lnTo>
                  <a:lnTo>
                    <a:pt x="555" y="365"/>
                  </a:lnTo>
                  <a:lnTo>
                    <a:pt x="485" y="376"/>
                  </a:lnTo>
                  <a:lnTo>
                    <a:pt x="418" y="390"/>
                  </a:lnTo>
                  <a:lnTo>
                    <a:pt x="356" y="406"/>
                  </a:lnTo>
                  <a:lnTo>
                    <a:pt x="298" y="424"/>
                  </a:lnTo>
                  <a:lnTo>
                    <a:pt x="244" y="445"/>
                  </a:lnTo>
                  <a:lnTo>
                    <a:pt x="194" y="466"/>
                  </a:lnTo>
                  <a:lnTo>
                    <a:pt x="146" y="491"/>
                  </a:lnTo>
                  <a:lnTo>
                    <a:pt x="104" y="513"/>
                  </a:lnTo>
                  <a:lnTo>
                    <a:pt x="67" y="538"/>
                  </a:lnTo>
                  <a:lnTo>
                    <a:pt x="31" y="561"/>
                  </a:lnTo>
                  <a:lnTo>
                    <a:pt x="0" y="585"/>
                  </a:lnTo>
                  <a:lnTo>
                    <a:pt x="41" y="495"/>
                  </a:lnTo>
                  <a:lnTo>
                    <a:pt x="84" y="416"/>
                  </a:lnTo>
                  <a:lnTo>
                    <a:pt x="132" y="342"/>
                  </a:lnTo>
                  <a:lnTo>
                    <a:pt x="182" y="279"/>
                  </a:lnTo>
                  <a:lnTo>
                    <a:pt x="236" y="223"/>
                  </a:lnTo>
                  <a:lnTo>
                    <a:pt x="290" y="173"/>
                  </a:lnTo>
                  <a:lnTo>
                    <a:pt x="347" y="132"/>
                  </a:lnTo>
                  <a:lnTo>
                    <a:pt x="405" y="96"/>
                  </a:lnTo>
                  <a:lnTo>
                    <a:pt x="465" y="67"/>
                  </a:lnTo>
                  <a:lnTo>
                    <a:pt x="527" y="42"/>
                  </a:lnTo>
                  <a:lnTo>
                    <a:pt x="589" y="24"/>
                  </a:lnTo>
                  <a:lnTo>
                    <a:pt x="653" y="11"/>
                  </a:lnTo>
                  <a:lnTo>
                    <a:pt x="716" y="3"/>
                  </a:lnTo>
                  <a:lnTo>
                    <a:pt x="780" y="0"/>
                  </a:lnTo>
                  <a:close/>
                </a:path>
              </a:pathLst>
            </a:custGeom>
            <a:solidFill>
              <a:sysClr val="window" lastClr="FFFFFF">
                <a:alpha val="20000"/>
              </a:sys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2" name="Group 1"/>
          <p:cNvGrpSpPr/>
          <p:nvPr/>
        </p:nvGrpSpPr>
        <p:grpSpPr>
          <a:xfrm>
            <a:off x="6205902" y="2394467"/>
            <a:ext cx="981933" cy="735611"/>
            <a:chOff x="4686197" y="2349222"/>
            <a:chExt cx="1308903" cy="980559"/>
          </a:xfrm>
        </p:grpSpPr>
        <p:sp>
          <p:nvSpPr>
            <p:cNvPr id="153" name="Freeform 22"/>
            <p:cNvSpPr>
              <a:spLocks/>
            </p:cNvSpPr>
            <p:nvPr/>
          </p:nvSpPr>
          <p:spPr bwMode="auto">
            <a:xfrm>
              <a:off x="4686197" y="2349222"/>
              <a:ext cx="1308903" cy="980559"/>
            </a:xfrm>
            <a:custGeom>
              <a:avLst/>
              <a:gdLst>
                <a:gd name="T0" fmla="*/ 895 w 1753"/>
                <a:gd name="T1" fmla="*/ 1 h 1315"/>
                <a:gd name="T2" fmla="*/ 1013 w 1753"/>
                <a:gd name="T3" fmla="*/ 19 h 1315"/>
                <a:gd name="T4" fmla="*/ 1122 w 1753"/>
                <a:gd name="T5" fmla="*/ 57 h 1315"/>
                <a:gd name="T6" fmla="*/ 1221 w 1753"/>
                <a:gd name="T7" fmla="*/ 109 h 1315"/>
                <a:gd name="T8" fmla="*/ 1311 w 1753"/>
                <a:gd name="T9" fmla="*/ 174 h 1315"/>
                <a:gd name="T10" fmla="*/ 1392 w 1753"/>
                <a:gd name="T11" fmla="*/ 249 h 1315"/>
                <a:gd name="T12" fmla="*/ 1465 w 1753"/>
                <a:gd name="T13" fmla="*/ 330 h 1315"/>
                <a:gd name="T14" fmla="*/ 1530 w 1753"/>
                <a:gd name="T15" fmla="*/ 415 h 1315"/>
                <a:gd name="T16" fmla="*/ 1587 w 1753"/>
                <a:gd name="T17" fmla="*/ 500 h 1315"/>
                <a:gd name="T18" fmla="*/ 1634 w 1753"/>
                <a:gd name="T19" fmla="*/ 583 h 1315"/>
                <a:gd name="T20" fmla="*/ 1674 w 1753"/>
                <a:gd name="T21" fmla="*/ 658 h 1315"/>
                <a:gd name="T22" fmla="*/ 1706 w 1753"/>
                <a:gd name="T23" fmla="*/ 725 h 1315"/>
                <a:gd name="T24" fmla="*/ 1729 w 1753"/>
                <a:gd name="T25" fmla="*/ 780 h 1315"/>
                <a:gd name="T26" fmla="*/ 1745 w 1753"/>
                <a:gd name="T27" fmla="*/ 819 h 1315"/>
                <a:gd name="T28" fmla="*/ 1753 w 1753"/>
                <a:gd name="T29" fmla="*/ 840 h 1315"/>
                <a:gd name="T30" fmla="*/ 1660 w 1753"/>
                <a:gd name="T31" fmla="*/ 928 h 1315"/>
                <a:gd name="T32" fmla="*/ 1483 w 1753"/>
                <a:gd name="T33" fmla="*/ 1070 h 1315"/>
                <a:gd name="T34" fmla="*/ 1317 w 1753"/>
                <a:gd name="T35" fmla="*/ 1176 h 1315"/>
                <a:gd name="T36" fmla="*/ 1164 w 1753"/>
                <a:gd name="T37" fmla="*/ 1249 h 1315"/>
                <a:gd name="T38" fmla="*/ 1021 w 1753"/>
                <a:gd name="T39" fmla="*/ 1295 h 1315"/>
                <a:gd name="T40" fmla="*/ 889 w 1753"/>
                <a:gd name="T41" fmla="*/ 1315 h 1315"/>
                <a:gd name="T42" fmla="*/ 767 w 1753"/>
                <a:gd name="T43" fmla="*/ 1310 h 1315"/>
                <a:gd name="T44" fmla="*/ 656 w 1753"/>
                <a:gd name="T45" fmla="*/ 1285 h 1315"/>
                <a:gd name="T46" fmla="*/ 554 w 1753"/>
                <a:gd name="T47" fmla="*/ 1245 h 1315"/>
                <a:gd name="T48" fmla="*/ 463 w 1753"/>
                <a:gd name="T49" fmla="*/ 1189 h 1315"/>
                <a:gd name="T50" fmla="*/ 380 w 1753"/>
                <a:gd name="T51" fmla="*/ 1121 h 1315"/>
                <a:gd name="T52" fmla="*/ 306 w 1753"/>
                <a:gd name="T53" fmla="*/ 1046 h 1315"/>
                <a:gd name="T54" fmla="*/ 243 w 1753"/>
                <a:gd name="T55" fmla="*/ 963 h 1315"/>
                <a:gd name="T56" fmla="*/ 186 w 1753"/>
                <a:gd name="T57" fmla="*/ 880 h 1315"/>
                <a:gd name="T58" fmla="*/ 137 w 1753"/>
                <a:gd name="T59" fmla="*/ 795 h 1315"/>
                <a:gd name="T60" fmla="*/ 98 w 1753"/>
                <a:gd name="T61" fmla="*/ 715 h 1315"/>
                <a:gd name="T62" fmla="*/ 64 w 1753"/>
                <a:gd name="T63" fmla="*/ 640 h 1315"/>
                <a:gd name="T64" fmla="*/ 39 w 1753"/>
                <a:gd name="T65" fmla="*/ 575 h 1315"/>
                <a:gd name="T66" fmla="*/ 20 w 1753"/>
                <a:gd name="T67" fmla="*/ 521 h 1315"/>
                <a:gd name="T68" fmla="*/ 8 w 1753"/>
                <a:gd name="T69" fmla="*/ 482 h 1315"/>
                <a:gd name="T70" fmla="*/ 2 w 1753"/>
                <a:gd name="T71" fmla="*/ 462 h 1315"/>
                <a:gd name="T72" fmla="*/ 88 w 1753"/>
                <a:gd name="T73" fmla="*/ 374 h 1315"/>
                <a:gd name="T74" fmla="*/ 256 w 1753"/>
                <a:gd name="T75" fmla="*/ 234 h 1315"/>
                <a:gd name="T76" fmla="*/ 415 w 1753"/>
                <a:gd name="T77" fmla="*/ 130 h 1315"/>
                <a:gd name="T78" fmla="*/ 563 w 1753"/>
                <a:gd name="T79" fmla="*/ 58 h 1315"/>
                <a:gd name="T80" fmla="*/ 703 w 1753"/>
                <a:gd name="T81" fmla="*/ 16 h 1315"/>
                <a:gd name="T82" fmla="*/ 834 w 1753"/>
                <a:gd name="T83" fmla="*/ 0 h 1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753" h="1315">
                  <a:moveTo>
                    <a:pt x="834" y="0"/>
                  </a:moveTo>
                  <a:lnTo>
                    <a:pt x="895" y="1"/>
                  </a:lnTo>
                  <a:lnTo>
                    <a:pt x="956" y="8"/>
                  </a:lnTo>
                  <a:lnTo>
                    <a:pt x="1013" y="19"/>
                  </a:lnTo>
                  <a:lnTo>
                    <a:pt x="1068" y="35"/>
                  </a:lnTo>
                  <a:lnTo>
                    <a:pt x="1122" y="57"/>
                  </a:lnTo>
                  <a:lnTo>
                    <a:pt x="1172" y="81"/>
                  </a:lnTo>
                  <a:lnTo>
                    <a:pt x="1221" y="109"/>
                  </a:lnTo>
                  <a:lnTo>
                    <a:pt x="1267" y="140"/>
                  </a:lnTo>
                  <a:lnTo>
                    <a:pt x="1311" y="174"/>
                  </a:lnTo>
                  <a:lnTo>
                    <a:pt x="1353" y="211"/>
                  </a:lnTo>
                  <a:lnTo>
                    <a:pt x="1392" y="249"/>
                  </a:lnTo>
                  <a:lnTo>
                    <a:pt x="1429" y="290"/>
                  </a:lnTo>
                  <a:lnTo>
                    <a:pt x="1465" y="330"/>
                  </a:lnTo>
                  <a:lnTo>
                    <a:pt x="1499" y="373"/>
                  </a:lnTo>
                  <a:lnTo>
                    <a:pt x="1530" y="415"/>
                  </a:lnTo>
                  <a:lnTo>
                    <a:pt x="1560" y="458"/>
                  </a:lnTo>
                  <a:lnTo>
                    <a:pt x="1587" y="500"/>
                  </a:lnTo>
                  <a:lnTo>
                    <a:pt x="1612" y="542"/>
                  </a:lnTo>
                  <a:lnTo>
                    <a:pt x="1634" y="583"/>
                  </a:lnTo>
                  <a:lnTo>
                    <a:pt x="1656" y="622"/>
                  </a:lnTo>
                  <a:lnTo>
                    <a:pt x="1674" y="658"/>
                  </a:lnTo>
                  <a:lnTo>
                    <a:pt x="1691" y="694"/>
                  </a:lnTo>
                  <a:lnTo>
                    <a:pt x="1706" y="725"/>
                  </a:lnTo>
                  <a:lnTo>
                    <a:pt x="1719" y="754"/>
                  </a:lnTo>
                  <a:lnTo>
                    <a:pt x="1729" y="780"/>
                  </a:lnTo>
                  <a:lnTo>
                    <a:pt x="1739" y="803"/>
                  </a:lnTo>
                  <a:lnTo>
                    <a:pt x="1745" y="819"/>
                  </a:lnTo>
                  <a:lnTo>
                    <a:pt x="1750" y="832"/>
                  </a:lnTo>
                  <a:lnTo>
                    <a:pt x="1753" y="840"/>
                  </a:lnTo>
                  <a:lnTo>
                    <a:pt x="1753" y="844"/>
                  </a:lnTo>
                  <a:lnTo>
                    <a:pt x="1660" y="928"/>
                  </a:lnTo>
                  <a:lnTo>
                    <a:pt x="1571" y="1003"/>
                  </a:lnTo>
                  <a:lnTo>
                    <a:pt x="1483" y="1070"/>
                  </a:lnTo>
                  <a:lnTo>
                    <a:pt x="1398" y="1127"/>
                  </a:lnTo>
                  <a:lnTo>
                    <a:pt x="1317" y="1176"/>
                  </a:lnTo>
                  <a:lnTo>
                    <a:pt x="1239" y="1217"/>
                  </a:lnTo>
                  <a:lnTo>
                    <a:pt x="1164" y="1249"/>
                  </a:lnTo>
                  <a:lnTo>
                    <a:pt x="1091" y="1276"/>
                  </a:lnTo>
                  <a:lnTo>
                    <a:pt x="1021" y="1295"/>
                  </a:lnTo>
                  <a:lnTo>
                    <a:pt x="952" y="1308"/>
                  </a:lnTo>
                  <a:lnTo>
                    <a:pt x="889" y="1315"/>
                  </a:lnTo>
                  <a:lnTo>
                    <a:pt x="827" y="1315"/>
                  </a:lnTo>
                  <a:lnTo>
                    <a:pt x="767" y="1310"/>
                  </a:lnTo>
                  <a:lnTo>
                    <a:pt x="710" y="1300"/>
                  </a:lnTo>
                  <a:lnTo>
                    <a:pt x="656" y="1285"/>
                  </a:lnTo>
                  <a:lnTo>
                    <a:pt x="604" y="1267"/>
                  </a:lnTo>
                  <a:lnTo>
                    <a:pt x="554" y="1245"/>
                  </a:lnTo>
                  <a:lnTo>
                    <a:pt x="506" y="1219"/>
                  </a:lnTo>
                  <a:lnTo>
                    <a:pt x="463" y="1189"/>
                  </a:lnTo>
                  <a:lnTo>
                    <a:pt x="420" y="1157"/>
                  </a:lnTo>
                  <a:lnTo>
                    <a:pt x="380" y="1121"/>
                  </a:lnTo>
                  <a:lnTo>
                    <a:pt x="342" y="1083"/>
                  </a:lnTo>
                  <a:lnTo>
                    <a:pt x="306" y="1046"/>
                  </a:lnTo>
                  <a:lnTo>
                    <a:pt x="274" y="1005"/>
                  </a:lnTo>
                  <a:lnTo>
                    <a:pt x="243" y="963"/>
                  </a:lnTo>
                  <a:lnTo>
                    <a:pt x="213" y="922"/>
                  </a:lnTo>
                  <a:lnTo>
                    <a:pt x="186" y="880"/>
                  </a:lnTo>
                  <a:lnTo>
                    <a:pt x="161" y="837"/>
                  </a:lnTo>
                  <a:lnTo>
                    <a:pt x="137" y="795"/>
                  </a:lnTo>
                  <a:lnTo>
                    <a:pt x="116" y="754"/>
                  </a:lnTo>
                  <a:lnTo>
                    <a:pt x="98" y="715"/>
                  </a:lnTo>
                  <a:lnTo>
                    <a:pt x="80" y="676"/>
                  </a:lnTo>
                  <a:lnTo>
                    <a:pt x="64" y="640"/>
                  </a:lnTo>
                  <a:lnTo>
                    <a:pt x="51" y="606"/>
                  </a:lnTo>
                  <a:lnTo>
                    <a:pt x="39" y="575"/>
                  </a:lnTo>
                  <a:lnTo>
                    <a:pt x="28" y="546"/>
                  </a:lnTo>
                  <a:lnTo>
                    <a:pt x="20" y="521"/>
                  </a:lnTo>
                  <a:lnTo>
                    <a:pt x="13" y="500"/>
                  </a:lnTo>
                  <a:lnTo>
                    <a:pt x="8" y="482"/>
                  </a:lnTo>
                  <a:lnTo>
                    <a:pt x="4" y="471"/>
                  </a:lnTo>
                  <a:lnTo>
                    <a:pt x="2" y="462"/>
                  </a:lnTo>
                  <a:lnTo>
                    <a:pt x="0" y="459"/>
                  </a:lnTo>
                  <a:lnTo>
                    <a:pt x="88" y="374"/>
                  </a:lnTo>
                  <a:lnTo>
                    <a:pt x="174" y="299"/>
                  </a:lnTo>
                  <a:lnTo>
                    <a:pt x="256" y="234"/>
                  </a:lnTo>
                  <a:lnTo>
                    <a:pt x="337" y="177"/>
                  </a:lnTo>
                  <a:lnTo>
                    <a:pt x="415" y="130"/>
                  </a:lnTo>
                  <a:lnTo>
                    <a:pt x="490" y="89"/>
                  </a:lnTo>
                  <a:lnTo>
                    <a:pt x="563" y="58"/>
                  </a:lnTo>
                  <a:lnTo>
                    <a:pt x="635" y="34"/>
                  </a:lnTo>
                  <a:lnTo>
                    <a:pt x="703" y="16"/>
                  </a:lnTo>
                  <a:lnTo>
                    <a:pt x="770" y="4"/>
                  </a:lnTo>
                  <a:lnTo>
                    <a:pt x="834" y="0"/>
                  </a:lnTo>
                  <a:close/>
                </a:path>
              </a:pathLst>
            </a:custGeom>
            <a:solidFill>
              <a:srgbClr val="6EA9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4" name="Freeform 29"/>
            <p:cNvSpPr>
              <a:spLocks/>
            </p:cNvSpPr>
            <p:nvPr/>
          </p:nvSpPr>
          <p:spPr bwMode="auto">
            <a:xfrm>
              <a:off x="4963798" y="2673089"/>
              <a:ext cx="1031302" cy="656691"/>
            </a:xfrm>
            <a:custGeom>
              <a:avLst/>
              <a:gdLst>
                <a:gd name="T0" fmla="*/ 1174 w 1382"/>
                <a:gd name="T1" fmla="*/ 0 h 880"/>
                <a:gd name="T2" fmla="*/ 1206 w 1382"/>
                <a:gd name="T3" fmla="*/ 52 h 880"/>
                <a:gd name="T4" fmla="*/ 1237 w 1382"/>
                <a:gd name="T5" fmla="*/ 102 h 880"/>
                <a:gd name="T6" fmla="*/ 1265 w 1382"/>
                <a:gd name="T7" fmla="*/ 151 h 880"/>
                <a:gd name="T8" fmla="*/ 1291 w 1382"/>
                <a:gd name="T9" fmla="*/ 199 h 880"/>
                <a:gd name="T10" fmla="*/ 1312 w 1382"/>
                <a:gd name="T11" fmla="*/ 243 h 880"/>
                <a:gd name="T12" fmla="*/ 1332 w 1382"/>
                <a:gd name="T13" fmla="*/ 282 h 880"/>
                <a:gd name="T14" fmla="*/ 1346 w 1382"/>
                <a:gd name="T15" fmla="*/ 317 h 880"/>
                <a:gd name="T16" fmla="*/ 1359 w 1382"/>
                <a:gd name="T17" fmla="*/ 348 h 880"/>
                <a:gd name="T18" fmla="*/ 1369 w 1382"/>
                <a:gd name="T19" fmla="*/ 374 h 880"/>
                <a:gd name="T20" fmla="*/ 1377 w 1382"/>
                <a:gd name="T21" fmla="*/ 392 h 880"/>
                <a:gd name="T22" fmla="*/ 1381 w 1382"/>
                <a:gd name="T23" fmla="*/ 405 h 880"/>
                <a:gd name="T24" fmla="*/ 1382 w 1382"/>
                <a:gd name="T25" fmla="*/ 409 h 880"/>
                <a:gd name="T26" fmla="*/ 1293 w 1382"/>
                <a:gd name="T27" fmla="*/ 490 h 880"/>
                <a:gd name="T28" fmla="*/ 1206 w 1382"/>
                <a:gd name="T29" fmla="*/ 564 h 880"/>
                <a:gd name="T30" fmla="*/ 1122 w 1382"/>
                <a:gd name="T31" fmla="*/ 629 h 880"/>
                <a:gd name="T32" fmla="*/ 1040 w 1382"/>
                <a:gd name="T33" fmla="*/ 684 h 880"/>
                <a:gd name="T34" fmla="*/ 961 w 1382"/>
                <a:gd name="T35" fmla="*/ 733 h 880"/>
                <a:gd name="T36" fmla="*/ 884 w 1382"/>
                <a:gd name="T37" fmla="*/ 774 h 880"/>
                <a:gd name="T38" fmla="*/ 811 w 1382"/>
                <a:gd name="T39" fmla="*/ 808 h 880"/>
                <a:gd name="T40" fmla="*/ 741 w 1382"/>
                <a:gd name="T41" fmla="*/ 834 h 880"/>
                <a:gd name="T42" fmla="*/ 673 w 1382"/>
                <a:gd name="T43" fmla="*/ 855 h 880"/>
                <a:gd name="T44" fmla="*/ 606 w 1382"/>
                <a:gd name="T45" fmla="*/ 870 h 880"/>
                <a:gd name="T46" fmla="*/ 542 w 1382"/>
                <a:gd name="T47" fmla="*/ 878 h 880"/>
                <a:gd name="T48" fmla="*/ 482 w 1382"/>
                <a:gd name="T49" fmla="*/ 880 h 880"/>
                <a:gd name="T50" fmla="*/ 424 w 1382"/>
                <a:gd name="T51" fmla="*/ 878 h 880"/>
                <a:gd name="T52" fmla="*/ 367 w 1382"/>
                <a:gd name="T53" fmla="*/ 872 h 880"/>
                <a:gd name="T54" fmla="*/ 313 w 1382"/>
                <a:gd name="T55" fmla="*/ 860 h 880"/>
                <a:gd name="T56" fmla="*/ 262 w 1382"/>
                <a:gd name="T57" fmla="*/ 844 h 880"/>
                <a:gd name="T58" fmla="*/ 214 w 1382"/>
                <a:gd name="T59" fmla="*/ 824 h 880"/>
                <a:gd name="T60" fmla="*/ 166 w 1382"/>
                <a:gd name="T61" fmla="*/ 800 h 880"/>
                <a:gd name="T62" fmla="*/ 122 w 1382"/>
                <a:gd name="T63" fmla="*/ 774 h 880"/>
                <a:gd name="T64" fmla="*/ 79 w 1382"/>
                <a:gd name="T65" fmla="*/ 744 h 880"/>
                <a:gd name="T66" fmla="*/ 39 w 1382"/>
                <a:gd name="T67" fmla="*/ 712 h 880"/>
                <a:gd name="T68" fmla="*/ 0 w 1382"/>
                <a:gd name="T69" fmla="*/ 678 h 880"/>
                <a:gd name="T70" fmla="*/ 80 w 1382"/>
                <a:gd name="T71" fmla="*/ 700 h 880"/>
                <a:gd name="T72" fmla="*/ 158 w 1382"/>
                <a:gd name="T73" fmla="*/ 713 h 880"/>
                <a:gd name="T74" fmla="*/ 233 w 1382"/>
                <a:gd name="T75" fmla="*/ 715 h 880"/>
                <a:gd name="T76" fmla="*/ 308 w 1382"/>
                <a:gd name="T77" fmla="*/ 709 h 880"/>
                <a:gd name="T78" fmla="*/ 381 w 1382"/>
                <a:gd name="T79" fmla="*/ 694 h 880"/>
                <a:gd name="T80" fmla="*/ 451 w 1382"/>
                <a:gd name="T81" fmla="*/ 671 h 880"/>
                <a:gd name="T82" fmla="*/ 521 w 1382"/>
                <a:gd name="T83" fmla="*/ 642 h 880"/>
                <a:gd name="T84" fmla="*/ 588 w 1382"/>
                <a:gd name="T85" fmla="*/ 606 h 880"/>
                <a:gd name="T86" fmla="*/ 651 w 1382"/>
                <a:gd name="T87" fmla="*/ 565 h 880"/>
                <a:gd name="T88" fmla="*/ 713 w 1382"/>
                <a:gd name="T89" fmla="*/ 521 h 880"/>
                <a:gd name="T90" fmla="*/ 772 w 1382"/>
                <a:gd name="T91" fmla="*/ 474 h 880"/>
                <a:gd name="T92" fmla="*/ 827 w 1382"/>
                <a:gd name="T93" fmla="*/ 423 h 880"/>
                <a:gd name="T94" fmla="*/ 881 w 1382"/>
                <a:gd name="T95" fmla="*/ 371 h 880"/>
                <a:gd name="T96" fmla="*/ 930 w 1382"/>
                <a:gd name="T97" fmla="*/ 319 h 880"/>
                <a:gd name="T98" fmla="*/ 977 w 1382"/>
                <a:gd name="T99" fmla="*/ 267 h 880"/>
                <a:gd name="T100" fmla="*/ 1019 w 1382"/>
                <a:gd name="T101" fmla="*/ 215 h 880"/>
                <a:gd name="T102" fmla="*/ 1058 w 1382"/>
                <a:gd name="T103" fmla="*/ 166 h 880"/>
                <a:gd name="T104" fmla="*/ 1093 w 1382"/>
                <a:gd name="T105" fmla="*/ 119 h 880"/>
                <a:gd name="T106" fmla="*/ 1123 w 1382"/>
                <a:gd name="T107" fmla="*/ 75 h 880"/>
                <a:gd name="T108" fmla="*/ 1151 w 1382"/>
                <a:gd name="T109" fmla="*/ 36 h 880"/>
                <a:gd name="T110" fmla="*/ 1174 w 1382"/>
                <a:gd name="T111" fmla="*/ 0 h 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82" h="880">
                  <a:moveTo>
                    <a:pt x="1174" y="0"/>
                  </a:moveTo>
                  <a:lnTo>
                    <a:pt x="1206" y="52"/>
                  </a:lnTo>
                  <a:lnTo>
                    <a:pt x="1237" y="102"/>
                  </a:lnTo>
                  <a:lnTo>
                    <a:pt x="1265" y="151"/>
                  </a:lnTo>
                  <a:lnTo>
                    <a:pt x="1291" y="199"/>
                  </a:lnTo>
                  <a:lnTo>
                    <a:pt x="1312" y="243"/>
                  </a:lnTo>
                  <a:lnTo>
                    <a:pt x="1332" y="282"/>
                  </a:lnTo>
                  <a:lnTo>
                    <a:pt x="1346" y="317"/>
                  </a:lnTo>
                  <a:lnTo>
                    <a:pt x="1359" y="348"/>
                  </a:lnTo>
                  <a:lnTo>
                    <a:pt x="1369" y="374"/>
                  </a:lnTo>
                  <a:lnTo>
                    <a:pt x="1377" y="392"/>
                  </a:lnTo>
                  <a:lnTo>
                    <a:pt x="1381" y="405"/>
                  </a:lnTo>
                  <a:lnTo>
                    <a:pt x="1382" y="409"/>
                  </a:lnTo>
                  <a:lnTo>
                    <a:pt x="1293" y="490"/>
                  </a:lnTo>
                  <a:lnTo>
                    <a:pt x="1206" y="564"/>
                  </a:lnTo>
                  <a:lnTo>
                    <a:pt x="1122" y="629"/>
                  </a:lnTo>
                  <a:lnTo>
                    <a:pt x="1040" y="684"/>
                  </a:lnTo>
                  <a:lnTo>
                    <a:pt x="961" y="733"/>
                  </a:lnTo>
                  <a:lnTo>
                    <a:pt x="884" y="774"/>
                  </a:lnTo>
                  <a:lnTo>
                    <a:pt x="811" y="808"/>
                  </a:lnTo>
                  <a:lnTo>
                    <a:pt x="741" y="834"/>
                  </a:lnTo>
                  <a:lnTo>
                    <a:pt x="673" y="855"/>
                  </a:lnTo>
                  <a:lnTo>
                    <a:pt x="606" y="870"/>
                  </a:lnTo>
                  <a:lnTo>
                    <a:pt x="542" y="878"/>
                  </a:lnTo>
                  <a:lnTo>
                    <a:pt x="482" y="880"/>
                  </a:lnTo>
                  <a:lnTo>
                    <a:pt x="424" y="878"/>
                  </a:lnTo>
                  <a:lnTo>
                    <a:pt x="367" y="872"/>
                  </a:lnTo>
                  <a:lnTo>
                    <a:pt x="313" y="860"/>
                  </a:lnTo>
                  <a:lnTo>
                    <a:pt x="262" y="844"/>
                  </a:lnTo>
                  <a:lnTo>
                    <a:pt x="214" y="824"/>
                  </a:lnTo>
                  <a:lnTo>
                    <a:pt x="166" y="800"/>
                  </a:lnTo>
                  <a:lnTo>
                    <a:pt x="122" y="774"/>
                  </a:lnTo>
                  <a:lnTo>
                    <a:pt x="79" y="744"/>
                  </a:lnTo>
                  <a:lnTo>
                    <a:pt x="39" y="712"/>
                  </a:lnTo>
                  <a:lnTo>
                    <a:pt x="0" y="678"/>
                  </a:lnTo>
                  <a:lnTo>
                    <a:pt x="80" y="700"/>
                  </a:lnTo>
                  <a:lnTo>
                    <a:pt x="158" y="713"/>
                  </a:lnTo>
                  <a:lnTo>
                    <a:pt x="233" y="715"/>
                  </a:lnTo>
                  <a:lnTo>
                    <a:pt x="308" y="709"/>
                  </a:lnTo>
                  <a:lnTo>
                    <a:pt x="381" y="694"/>
                  </a:lnTo>
                  <a:lnTo>
                    <a:pt x="451" y="671"/>
                  </a:lnTo>
                  <a:lnTo>
                    <a:pt x="521" y="642"/>
                  </a:lnTo>
                  <a:lnTo>
                    <a:pt x="588" y="606"/>
                  </a:lnTo>
                  <a:lnTo>
                    <a:pt x="651" y="565"/>
                  </a:lnTo>
                  <a:lnTo>
                    <a:pt x="713" y="521"/>
                  </a:lnTo>
                  <a:lnTo>
                    <a:pt x="772" y="474"/>
                  </a:lnTo>
                  <a:lnTo>
                    <a:pt x="827" y="423"/>
                  </a:lnTo>
                  <a:lnTo>
                    <a:pt x="881" y="371"/>
                  </a:lnTo>
                  <a:lnTo>
                    <a:pt x="930" y="319"/>
                  </a:lnTo>
                  <a:lnTo>
                    <a:pt x="977" y="267"/>
                  </a:lnTo>
                  <a:lnTo>
                    <a:pt x="1019" y="215"/>
                  </a:lnTo>
                  <a:lnTo>
                    <a:pt x="1058" y="166"/>
                  </a:lnTo>
                  <a:lnTo>
                    <a:pt x="1093" y="119"/>
                  </a:lnTo>
                  <a:lnTo>
                    <a:pt x="1123" y="75"/>
                  </a:lnTo>
                  <a:lnTo>
                    <a:pt x="1151" y="36"/>
                  </a:lnTo>
                  <a:lnTo>
                    <a:pt x="1174" y="0"/>
                  </a:lnTo>
                  <a:close/>
                </a:path>
              </a:pathLst>
            </a:custGeom>
            <a:solidFill>
              <a:sysClr val="window" lastClr="FFFFFF">
                <a:alpha val="20000"/>
              </a:sys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5" name="Group 2"/>
          <p:cNvGrpSpPr/>
          <p:nvPr/>
        </p:nvGrpSpPr>
        <p:grpSpPr>
          <a:xfrm>
            <a:off x="6662719" y="1765223"/>
            <a:ext cx="620286" cy="613569"/>
            <a:chOff x="5295128" y="1510449"/>
            <a:chExt cx="826833" cy="817879"/>
          </a:xfrm>
        </p:grpSpPr>
        <p:sp>
          <p:nvSpPr>
            <p:cNvPr id="156" name="Freeform 23"/>
            <p:cNvSpPr>
              <a:spLocks/>
            </p:cNvSpPr>
            <p:nvPr/>
          </p:nvSpPr>
          <p:spPr bwMode="auto">
            <a:xfrm>
              <a:off x="5295128" y="1510449"/>
              <a:ext cx="825340" cy="817878"/>
            </a:xfrm>
            <a:custGeom>
              <a:avLst/>
              <a:gdLst>
                <a:gd name="T0" fmla="*/ 491 w 1107"/>
                <a:gd name="T1" fmla="*/ 1 h 1095"/>
                <a:gd name="T2" fmla="*/ 626 w 1107"/>
                <a:gd name="T3" fmla="*/ 21 h 1095"/>
                <a:gd name="T4" fmla="*/ 740 w 1107"/>
                <a:gd name="T5" fmla="*/ 57 h 1095"/>
                <a:gd name="T6" fmla="*/ 836 w 1107"/>
                <a:gd name="T7" fmla="*/ 107 h 1095"/>
                <a:gd name="T8" fmla="*/ 914 w 1107"/>
                <a:gd name="T9" fmla="*/ 171 h 1095"/>
                <a:gd name="T10" fmla="*/ 976 w 1107"/>
                <a:gd name="T11" fmla="*/ 244 h 1095"/>
                <a:gd name="T12" fmla="*/ 1024 w 1107"/>
                <a:gd name="T13" fmla="*/ 326 h 1095"/>
                <a:gd name="T14" fmla="*/ 1059 w 1107"/>
                <a:gd name="T15" fmla="*/ 414 h 1095"/>
                <a:gd name="T16" fmla="*/ 1084 w 1107"/>
                <a:gd name="T17" fmla="*/ 503 h 1095"/>
                <a:gd name="T18" fmla="*/ 1098 w 1107"/>
                <a:gd name="T19" fmla="*/ 593 h 1095"/>
                <a:gd name="T20" fmla="*/ 1107 w 1107"/>
                <a:gd name="T21" fmla="*/ 683 h 1095"/>
                <a:gd name="T22" fmla="*/ 1107 w 1107"/>
                <a:gd name="T23" fmla="*/ 767 h 1095"/>
                <a:gd name="T24" fmla="*/ 1103 w 1107"/>
                <a:gd name="T25" fmla="*/ 846 h 1095"/>
                <a:gd name="T26" fmla="*/ 1097 w 1107"/>
                <a:gd name="T27" fmla="*/ 914 h 1095"/>
                <a:gd name="T28" fmla="*/ 1089 w 1107"/>
                <a:gd name="T29" fmla="*/ 973 h 1095"/>
                <a:gd name="T30" fmla="*/ 1082 w 1107"/>
                <a:gd name="T31" fmla="*/ 1017 h 1095"/>
                <a:gd name="T32" fmla="*/ 1076 w 1107"/>
                <a:gd name="T33" fmla="*/ 1046 h 1095"/>
                <a:gd name="T34" fmla="*/ 1074 w 1107"/>
                <a:gd name="T35" fmla="*/ 1056 h 1095"/>
                <a:gd name="T36" fmla="*/ 872 w 1107"/>
                <a:gd name="T37" fmla="*/ 1087 h 1095"/>
                <a:gd name="T38" fmla="*/ 698 w 1107"/>
                <a:gd name="T39" fmla="*/ 1095 h 1095"/>
                <a:gd name="T40" fmla="*/ 547 w 1107"/>
                <a:gd name="T41" fmla="*/ 1085 h 1095"/>
                <a:gd name="T42" fmla="*/ 418 w 1107"/>
                <a:gd name="T43" fmla="*/ 1057 h 1095"/>
                <a:gd name="T44" fmla="*/ 311 w 1107"/>
                <a:gd name="T45" fmla="*/ 1015 h 1095"/>
                <a:gd name="T46" fmla="*/ 223 w 1107"/>
                <a:gd name="T47" fmla="*/ 961 h 1095"/>
                <a:gd name="T48" fmla="*/ 153 w 1107"/>
                <a:gd name="T49" fmla="*/ 894 h 1095"/>
                <a:gd name="T50" fmla="*/ 97 w 1107"/>
                <a:gd name="T51" fmla="*/ 821 h 1095"/>
                <a:gd name="T52" fmla="*/ 57 w 1107"/>
                <a:gd name="T53" fmla="*/ 740 h 1095"/>
                <a:gd name="T54" fmla="*/ 27 w 1107"/>
                <a:gd name="T55" fmla="*/ 655 h 1095"/>
                <a:gd name="T56" fmla="*/ 9 w 1107"/>
                <a:gd name="T57" fmla="*/ 569 h 1095"/>
                <a:gd name="T58" fmla="*/ 1 w 1107"/>
                <a:gd name="T59" fmla="*/ 482 h 1095"/>
                <a:gd name="T60" fmla="*/ 0 w 1107"/>
                <a:gd name="T61" fmla="*/ 397 h 1095"/>
                <a:gd name="T62" fmla="*/ 5 w 1107"/>
                <a:gd name="T63" fmla="*/ 318 h 1095"/>
                <a:gd name="T64" fmla="*/ 13 w 1107"/>
                <a:gd name="T65" fmla="*/ 243 h 1095"/>
                <a:gd name="T66" fmla="*/ 23 w 1107"/>
                <a:gd name="T67" fmla="*/ 177 h 1095"/>
                <a:gd name="T68" fmla="*/ 34 w 1107"/>
                <a:gd name="T69" fmla="*/ 124 h 1095"/>
                <a:gd name="T70" fmla="*/ 44 w 1107"/>
                <a:gd name="T71" fmla="*/ 83 h 1095"/>
                <a:gd name="T72" fmla="*/ 52 w 1107"/>
                <a:gd name="T73" fmla="*/ 55 h 1095"/>
                <a:gd name="T74" fmla="*/ 53 w 1107"/>
                <a:gd name="T75" fmla="*/ 47 h 1095"/>
                <a:gd name="T76" fmla="*/ 247 w 1107"/>
                <a:gd name="T77" fmla="*/ 11 h 1095"/>
                <a:gd name="T78" fmla="*/ 416 w 1107"/>
                <a:gd name="T79" fmla="*/ 0 h 1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07" h="1095">
                  <a:moveTo>
                    <a:pt x="416" y="0"/>
                  </a:moveTo>
                  <a:lnTo>
                    <a:pt x="491" y="1"/>
                  </a:lnTo>
                  <a:lnTo>
                    <a:pt x="561" y="8"/>
                  </a:lnTo>
                  <a:lnTo>
                    <a:pt x="626" y="21"/>
                  </a:lnTo>
                  <a:lnTo>
                    <a:pt x="687" y="36"/>
                  </a:lnTo>
                  <a:lnTo>
                    <a:pt x="740" y="57"/>
                  </a:lnTo>
                  <a:lnTo>
                    <a:pt x="791" y="80"/>
                  </a:lnTo>
                  <a:lnTo>
                    <a:pt x="836" y="107"/>
                  </a:lnTo>
                  <a:lnTo>
                    <a:pt x="877" y="138"/>
                  </a:lnTo>
                  <a:lnTo>
                    <a:pt x="914" y="171"/>
                  </a:lnTo>
                  <a:lnTo>
                    <a:pt x="947" y="207"/>
                  </a:lnTo>
                  <a:lnTo>
                    <a:pt x="976" y="244"/>
                  </a:lnTo>
                  <a:lnTo>
                    <a:pt x="1002" y="285"/>
                  </a:lnTo>
                  <a:lnTo>
                    <a:pt x="1024" y="326"/>
                  </a:lnTo>
                  <a:lnTo>
                    <a:pt x="1043" y="370"/>
                  </a:lnTo>
                  <a:lnTo>
                    <a:pt x="1059" y="414"/>
                  </a:lnTo>
                  <a:lnTo>
                    <a:pt x="1072" y="458"/>
                  </a:lnTo>
                  <a:lnTo>
                    <a:pt x="1084" y="503"/>
                  </a:lnTo>
                  <a:lnTo>
                    <a:pt x="1092" y="549"/>
                  </a:lnTo>
                  <a:lnTo>
                    <a:pt x="1098" y="593"/>
                  </a:lnTo>
                  <a:lnTo>
                    <a:pt x="1103" y="639"/>
                  </a:lnTo>
                  <a:lnTo>
                    <a:pt x="1107" y="683"/>
                  </a:lnTo>
                  <a:lnTo>
                    <a:pt x="1107" y="725"/>
                  </a:lnTo>
                  <a:lnTo>
                    <a:pt x="1107" y="767"/>
                  </a:lnTo>
                  <a:lnTo>
                    <a:pt x="1107" y="806"/>
                  </a:lnTo>
                  <a:lnTo>
                    <a:pt x="1103" y="846"/>
                  </a:lnTo>
                  <a:lnTo>
                    <a:pt x="1100" y="881"/>
                  </a:lnTo>
                  <a:lnTo>
                    <a:pt x="1097" y="914"/>
                  </a:lnTo>
                  <a:lnTo>
                    <a:pt x="1094" y="945"/>
                  </a:lnTo>
                  <a:lnTo>
                    <a:pt x="1089" y="973"/>
                  </a:lnTo>
                  <a:lnTo>
                    <a:pt x="1085" y="997"/>
                  </a:lnTo>
                  <a:lnTo>
                    <a:pt x="1082" y="1017"/>
                  </a:lnTo>
                  <a:lnTo>
                    <a:pt x="1079" y="1033"/>
                  </a:lnTo>
                  <a:lnTo>
                    <a:pt x="1076" y="1046"/>
                  </a:lnTo>
                  <a:lnTo>
                    <a:pt x="1074" y="1053"/>
                  </a:lnTo>
                  <a:lnTo>
                    <a:pt x="1074" y="1056"/>
                  </a:lnTo>
                  <a:lnTo>
                    <a:pt x="970" y="1074"/>
                  </a:lnTo>
                  <a:lnTo>
                    <a:pt x="872" y="1087"/>
                  </a:lnTo>
                  <a:lnTo>
                    <a:pt x="783" y="1093"/>
                  </a:lnTo>
                  <a:lnTo>
                    <a:pt x="698" y="1095"/>
                  </a:lnTo>
                  <a:lnTo>
                    <a:pt x="620" y="1092"/>
                  </a:lnTo>
                  <a:lnTo>
                    <a:pt x="547" y="1085"/>
                  </a:lnTo>
                  <a:lnTo>
                    <a:pt x="480" y="1074"/>
                  </a:lnTo>
                  <a:lnTo>
                    <a:pt x="418" y="1057"/>
                  </a:lnTo>
                  <a:lnTo>
                    <a:pt x="363" y="1038"/>
                  </a:lnTo>
                  <a:lnTo>
                    <a:pt x="311" y="1015"/>
                  </a:lnTo>
                  <a:lnTo>
                    <a:pt x="265" y="989"/>
                  </a:lnTo>
                  <a:lnTo>
                    <a:pt x="223" y="961"/>
                  </a:lnTo>
                  <a:lnTo>
                    <a:pt x="185" y="929"/>
                  </a:lnTo>
                  <a:lnTo>
                    <a:pt x="153" y="894"/>
                  </a:lnTo>
                  <a:lnTo>
                    <a:pt x="123" y="859"/>
                  </a:lnTo>
                  <a:lnTo>
                    <a:pt x="97" y="821"/>
                  </a:lnTo>
                  <a:lnTo>
                    <a:pt x="75" y="782"/>
                  </a:lnTo>
                  <a:lnTo>
                    <a:pt x="57" y="740"/>
                  </a:lnTo>
                  <a:lnTo>
                    <a:pt x="40" y="699"/>
                  </a:lnTo>
                  <a:lnTo>
                    <a:pt x="27" y="655"/>
                  </a:lnTo>
                  <a:lnTo>
                    <a:pt x="18" y="613"/>
                  </a:lnTo>
                  <a:lnTo>
                    <a:pt x="9" y="569"/>
                  </a:lnTo>
                  <a:lnTo>
                    <a:pt x="5" y="525"/>
                  </a:lnTo>
                  <a:lnTo>
                    <a:pt x="1" y="482"/>
                  </a:lnTo>
                  <a:lnTo>
                    <a:pt x="0" y="440"/>
                  </a:lnTo>
                  <a:lnTo>
                    <a:pt x="0" y="397"/>
                  </a:lnTo>
                  <a:lnTo>
                    <a:pt x="1" y="357"/>
                  </a:lnTo>
                  <a:lnTo>
                    <a:pt x="5" y="318"/>
                  </a:lnTo>
                  <a:lnTo>
                    <a:pt x="8" y="280"/>
                  </a:lnTo>
                  <a:lnTo>
                    <a:pt x="13" y="243"/>
                  </a:lnTo>
                  <a:lnTo>
                    <a:pt x="18" y="210"/>
                  </a:lnTo>
                  <a:lnTo>
                    <a:pt x="23" y="177"/>
                  </a:lnTo>
                  <a:lnTo>
                    <a:pt x="29" y="150"/>
                  </a:lnTo>
                  <a:lnTo>
                    <a:pt x="34" y="124"/>
                  </a:lnTo>
                  <a:lnTo>
                    <a:pt x="39" y="101"/>
                  </a:lnTo>
                  <a:lnTo>
                    <a:pt x="44" y="83"/>
                  </a:lnTo>
                  <a:lnTo>
                    <a:pt x="49" y="67"/>
                  </a:lnTo>
                  <a:lnTo>
                    <a:pt x="52" y="55"/>
                  </a:lnTo>
                  <a:lnTo>
                    <a:pt x="53" y="49"/>
                  </a:lnTo>
                  <a:lnTo>
                    <a:pt x="53" y="47"/>
                  </a:lnTo>
                  <a:lnTo>
                    <a:pt x="154" y="26"/>
                  </a:lnTo>
                  <a:lnTo>
                    <a:pt x="247" y="11"/>
                  </a:lnTo>
                  <a:lnTo>
                    <a:pt x="335" y="3"/>
                  </a:lnTo>
                  <a:lnTo>
                    <a:pt x="416" y="0"/>
                  </a:lnTo>
                  <a:close/>
                </a:path>
              </a:pathLst>
            </a:custGeom>
            <a:solidFill>
              <a:srgbClr val="F1652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7" name="Freeform 30"/>
            <p:cNvSpPr>
              <a:spLocks/>
            </p:cNvSpPr>
            <p:nvPr/>
          </p:nvSpPr>
          <p:spPr bwMode="auto">
            <a:xfrm>
              <a:off x="5748841" y="1523881"/>
              <a:ext cx="373120" cy="804447"/>
            </a:xfrm>
            <a:custGeom>
              <a:avLst/>
              <a:gdLst>
                <a:gd name="T0" fmla="*/ 0 w 500"/>
                <a:gd name="T1" fmla="*/ 0 h 1079"/>
                <a:gd name="T2" fmla="*/ 70 w 500"/>
                <a:gd name="T3" fmla="*/ 18 h 1079"/>
                <a:gd name="T4" fmla="*/ 134 w 500"/>
                <a:gd name="T5" fmla="*/ 41 h 1079"/>
                <a:gd name="T6" fmla="*/ 191 w 500"/>
                <a:gd name="T7" fmla="*/ 69 h 1079"/>
                <a:gd name="T8" fmla="*/ 241 w 500"/>
                <a:gd name="T9" fmla="*/ 101 h 1079"/>
                <a:gd name="T10" fmla="*/ 287 w 500"/>
                <a:gd name="T11" fmla="*/ 137 h 1079"/>
                <a:gd name="T12" fmla="*/ 328 w 500"/>
                <a:gd name="T13" fmla="*/ 178 h 1079"/>
                <a:gd name="T14" fmla="*/ 362 w 500"/>
                <a:gd name="T15" fmla="*/ 220 h 1079"/>
                <a:gd name="T16" fmla="*/ 393 w 500"/>
                <a:gd name="T17" fmla="*/ 266 h 1079"/>
                <a:gd name="T18" fmla="*/ 419 w 500"/>
                <a:gd name="T19" fmla="*/ 315 h 1079"/>
                <a:gd name="T20" fmla="*/ 440 w 500"/>
                <a:gd name="T21" fmla="*/ 364 h 1079"/>
                <a:gd name="T22" fmla="*/ 458 w 500"/>
                <a:gd name="T23" fmla="*/ 414 h 1079"/>
                <a:gd name="T24" fmla="*/ 471 w 500"/>
                <a:gd name="T25" fmla="*/ 466 h 1079"/>
                <a:gd name="T26" fmla="*/ 482 w 500"/>
                <a:gd name="T27" fmla="*/ 518 h 1079"/>
                <a:gd name="T28" fmla="*/ 490 w 500"/>
                <a:gd name="T29" fmla="*/ 570 h 1079"/>
                <a:gd name="T30" fmla="*/ 495 w 500"/>
                <a:gd name="T31" fmla="*/ 623 h 1079"/>
                <a:gd name="T32" fmla="*/ 499 w 500"/>
                <a:gd name="T33" fmla="*/ 673 h 1079"/>
                <a:gd name="T34" fmla="*/ 500 w 500"/>
                <a:gd name="T35" fmla="*/ 722 h 1079"/>
                <a:gd name="T36" fmla="*/ 499 w 500"/>
                <a:gd name="T37" fmla="*/ 771 h 1079"/>
                <a:gd name="T38" fmla="*/ 497 w 500"/>
                <a:gd name="T39" fmla="*/ 815 h 1079"/>
                <a:gd name="T40" fmla="*/ 494 w 500"/>
                <a:gd name="T41" fmla="*/ 857 h 1079"/>
                <a:gd name="T42" fmla="*/ 489 w 500"/>
                <a:gd name="T43" fmla="*/ 896 h 1079"/>
                <a:gd name="T44" fmla="*/ 486 w 500"/>
                <a:gd name="T45" fmla="*/ 932 h 1079"/>
                <a:gd name="T46" fmla="*/ 481 w 500"/>
                <a:gd name="T47" fmla="*/ 963 h 1079"/>
                <a:gd name="T48" fmla="*/ 476 w 500"/>
                <a:gd name="T49" fmla="*/ 989 h 1079"/>
                <a:gd name="T50" fmla="*/ 472 w 500"/>
                <a:gd name="T51" fmla="*/ 1010 h 1079"/>
                <a:gd name="T52" fmla="*/ 469 w 500"/>
                <a:gd name="T53" fmla="*/ 1027 h 1079"/>
                <a:gd name="T54" fmla="*/ 466 w 500"/>
                <a:gd name="T55" fmla="*/ 1037 h 1079"/>
                <a:gd name="T56" fmla="*/ 466 w 500"/>
                <a:gd name="T57" fmla="*/ 1040 h 1079"/>
                <a:gd name="T58" fmla="*/ 370 w 500"/>
                <a:gd name="T59" fmla="*/ 1056 h 1079"/>
                <a:gd name="T60" fmla="*/ 280 w 500"/>
                <a:gd name="T61" fmla="*/ 1069 h 1079"/>
                <a:gd name="T62" fmla="*/ 196 w 500"/>
                <a:gd name="T63" fmla="*/ 1076 h 1079"/>
                <a:gd name="T64" fmla="*/ 116 w 500"/>
                <a:gd name="T65" fmla="*/ 1079 h 1079"/>
                <a:gd name="T66" fmla="*/ 43 w 500"/>
                <a:gd name="T67" fmla="*/ 1077 h 1079"/>
                <a:gd name="T68" fmla="*/ 56 w 500"/>
                <a:gd name="T69" fmla="*/ 1045 h 1079"/>
                <a:gd name="T70" fmla="*/ 69 w 500"/>
                <a:gd name="T71" fmla="*/ 1007 h 1079"/>
                <a:gd name="T72" fmla="*/ 83 w 500"/>
                <a:gd name="T73" fmla="*/ 966 h 1079"/>
                <a:gd name="T74" fmla="*/ 98 w 500"/>
                <a:gd name="T75" fmla="*/ 919 h 1079"/>
                <a:gd name="T76" fmla="*/ 113 w 500"/>
                <a:gd name="T77" fmla="*/ 870 h 1079"/>
                <a:gd name="T78" fmla="*/ 127 w 500"/>
                <a:gd name="T79" fmla="*/ 818 h 1079"/>
                <a:gd name="T80" fmla="*/ 140 w 500"/>
                <a:gd name="T81" fmla="*/ 763 h 1079"/>
                <a:gd name="T82" fmla="*/ 152 w 500"/>
                <a:gd name="T83" fmla="*/ 706 h 1079"/>
                <a:gd name="T84" fmla="*/ 163 w 500"/>
                <a:gd name="T85" fmla="*/ 647 h 1079"/>
                <a:gd name="T86" fmla="*/ 171 w 500"/>
                <a:gd name="T87" fmla="*/ 587 h 1079"/>
                <a:gd name="T88" fmla="*/ 176 w 500"/>
                <a:gd name="T89" fmla="*/ 526 h 1079"/>
                <a:gd name="T90" fmla="*/ 180 w 500"/>
                <a:gd name="T91" fmla="*/ 466 h 1079"/>
                <a:gd name="T92" fmla="*/ 180 w 500"/>
                <a:gd name="T93" fmla="*/ 406 h 1079"/>
                <a:gd name="T94" fmla="*/ 175 w 500"/>
                <a:gd name="T95" fmla="*/ 347 h 1079"/>
                <a:gd name="T96" fmla="*/ 165 w 500"/>
                <a:gd name="T97" fmla="*/ 289 h 1079"/>
                <a:gd name="T98" fmla="*/ 152 w 500"/>
                <a:gd name="T99" fmla="*/ 233 h 1079"/>
                <a:gd name="T100" fmla="*/ 134 w 500"/>
                <a:gd name="T101" fmla="*/ 179 h 1079"/>
                <a:gd name="T102" fmla="*/ 110 w 500"/>
                <a:gd name="T103" fmla="*/ 129 h 1079"/>
                <a:gd name="T104" fmla="*/ 80 w 500"/>
                <a:gd name="T105" fmla="*/ 83 h 1079"/>
                <a:gd name="T106" fmla="*/ 43 w 500"/>
                <a:gd name="T107" fmla="*/ 39 h 1079"/>
                <a:gd name="T108" fmla="*/ 0 w 500"/>
                <a:gd name="T109" fmla="*/ 0 h 1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0" h="1079">
                  <a:moveTo>
                    <a:pt x="0" y="0"/>
                  </a:moveTo>
                  <a:lnTo>
                    <a:pt x="70" y="18"/>
                  </a:lnTo>
                  <a:lnTo>
                    <a:pt x="134" y="41"/>
                  </a:lnTo>
                  <a:lnTo>
                    <a:pt x="191" y="69"/>
                  </a:lnTo>
                  <a:lnTo>
                    <a:pt x="241" y="101"/>
                  </a:lnTo>
                  <a:lnTo>
                    <a:pt x="287" y="137"/>
                  </a:lnTo>
                  <a:lnTo>
                    <a:pt x="328" y="178"/>
                  </a:lnTo>
                  <a:lnTo>
                    <a:pt x="362" y="220"/>
                  </a:lnTo>
                  <a:lnTo>
                    <a:pt x="393" y="266"/>
                  </a:lnTo>
                  <a:lnTo>
                    <a:pt x="419" y="315"/>
                  </a:lnTo>
                  <a:lnTo>
                    <a:pt x="440" y="364"/>
                  </a:lnTo>
                  <a:lnTo>
                    <a:pt x="458" y="414"/>
                  </a:lnTo>
                  <a:lnTo>
                    <a:pt x="471" y="466"/>
                  </a:lnTo>
                  <a:lnTo>
                    <a:pt x="482" y="518"/>
                  </a:lnTo>
                  <a:lnTo>
                    <a:pt x="490" y="570"/>
                  </a:lnTo>
                  <a:lnTo>
                    <a:pt x="495" y="623"/>
                  </a:lnTo>
                  <a:lnTo>
                    <a:pt x="499" y="673"/>
                  </a:lnTo>
                  <a:lnTo>
                    <a:pt x="500" y="722"/>
                  </a:lnTo>
                  <a:lnTo>
                    <a:pt x="499" y="771"/>
                  </a:lnTo>
                  <a:lnTo>
                    <a:pt x="497" y="815"/>
                  </a:lnTo>
                  <a:lnTo>
                    <a:pt x="494" y="857"/>
                  </a:lnTo>
                  <a:lnTo>
                    <a:pt x="489" y="896"/>
                  </a:lnTo>
                  <a:lnTo>
                    <a:pt x="486" y="932"/>
                  </a:lnTo>
                  <a:lnTo>
                    <a:pt x="481" y="963"/>
                  </a:lnTo>
                  <a:lnTo>
                    <a:pt x="476" y="989"/>
                  </a:lnTo>
                  <a:lnTo>
                    <a:pt x="472" y="1010"/>
                  </a:lnTo>
                  <a:lnTo>
                    <a:pt x="469" y="1027"/>
                  </a:lnTo>
                  <a:lnTo>
                    <a:pt x="466" y="1037"/>
                  </a:lnTo>
                  <a:lnTo>
                    <a:pt x="466" y="1040"/>
                  </a:lnTo>
                  <a:lnTo>
                    <a:pt x="370" y="1056"/>
                  </a:lnTo>
                  <a:lnTo>
                    <a:pt x="280" y="1069"/>
                  </a:lnTo>
                  <a:lnTo>
                    <a:pt x="196" y="1076"/>
                  </a:lnTo>
                  <a:lnTo>
                    <a:pt x="116" y="1079"/>
                  </a:lnTo>
                  <a:lnTo>
                    <a:pt x="43" y="1077"/>
                  </a:lnTo>
                  <a:lnTo>
                    <a:pt x="56" y="1045"/>
                  </a:lnTo>
                  <a:lnTo>
                    <a:pt x="69" y="1007"/>
                  </a:lnTo>
                  <a:lnTo>
                    <a:pt x="83" y="966"/>
                  </a:lnTo>
                  <a:lnTo>
                    <a:pt x="98" y="919"/>
                  </a:lnTo>
                  <a:lnTo>
                    <a:pt x="113" y="870"/>
                  </a:lnTo>
                  <a:lnTo>
                    <a:pt x="127" y="818"/>
                  </a:lnTo>
                  <a:lnTo>
                    <a:pt x="140" y="763"/>
                  </a:lnTo>
                  <a:lnTo>
                    <a:pt x="152" y="706"/>
                  </a:lnTo>
                  <a:lnTo>
                    <a:pt x="163" y="647"/>
                  </a:lnTo>
                  <a:lnTo>
                    <a:pt x="171" y="587"/>
                  </a:lnTo>
                  <a:lnTo>
                    <a:pt x="176" y="526"/>
                  </a:lnTo>
                  <a:lnTo>
                    <a:pt x="180" y="466"/>
                  </a:lnTo>
                  <a:lnTo>
                    <a:pt x="180" y="406"/>
                  </a:lnTo>
                  <a:lnTo>
                    <a:pt x="175" y="347"/>
                  </a:lnTo>
                  <a:lnTo>
                    <a:pt x="165" y="289"/>
                  </a:lnTo>
                  <a:lnTo>
                    <a:pt x="152" y="233"/>
                  </a:lnTo>
                  <a:lnTo>
                    <a:pt x="134" y="179"/>
                  </a:lnTo>
                  <a:lnTo>
                    <a:pt x="110" y="129"/>
                  </a:lnTo>
                  <a:lnTo>
                    <a:pt x="80" y="83"/>
                  </a:lnTo>
                  <a:lnTo>
                    <a:pt x="43" y="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>
                <a:alpha val="20000"/>
              </a:sys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8" name="Group 18"/>
          <p:cNvGrpSpPr/>
          <p:nvPr/>
        </p:nvGrpSpPr>
        <p:grpSpPr>
          <a:xfrm>
            <a:off x="7327791" y="3200615"/>
            <a:ext cx="1054711" cy="798311"/>
            <a:chOff x="6181660" y="3423807"/>
            <a:chExt cx="1405915" cy="1064138"/>
          </a:xfrm>
        </p:grpSpPr>
        <p:sp>
          <p:nvSpPr>
            <p:cNvPr id="159" name="Freeform 24"/>
            <p:cNvSpPr>
              <a:spLocks/>
            </p:cNvSpPr>
            <p:nvPr/>
          </p:nvSpPr>
          <p:spPr bwMode="auto">
            <a:xfrm>
              <a:off x="6181660" y="3423807"/>
              <a:ext cx="1405915" cy="1064138"/>
            </a:xfrm>
            <a:custGeom>
              <a:avLst/>
              <a:gdLst>
                <a:gd name="T0" fmla="*/ 1050 w 1883"/>
                <a:gd name="T1" fmla="*/ 5 h 1426"/>
                <a:gd name="T2" fmla="*/ 1167 w 1883"/>
                <a:gd name="T3" fmla="*/ 28 h 1426"/>
                <a:gd name="T4" fmla="*/ 1274 w 1883"/>
                <a:gd name="T5" fmla="*/ 69 h 1426"/>
                <a:gd name="T6" fmla="*/ 1370 w 1883"/>
                <a:gd name="T7" fmla="*/ 124 h 1426"/>
                <a:gd name="T8" fmla="*/ 1458 w 1883"/>
                <a:gd name="T9" fmla="*/ 192 h 1426"/>
                <a:gd name="T10" fmla="*/ 1536 w 1883"/>
                <a:gd name="T11" fmla="*/ 269 h 1426"/>
                <a:gd name="T12" fmla="*/ 1605 w 1883"/>
                <a:gd name="T13" fmla="*/ 354 h 1426"/>
                <a:gd name="T14" fmla="*/ 1665 w 1883"/>
                <a:gd name="T15" fmla="*/ 442 h 1426"/>
                <a:gd name="T16" fmla="*/ 1717 w 1883"/>
                <a:gd name="T17" fmla="*/ 531 h 1426"/>
                <a:gd name="T18" fmla="*/ 1761 w 1883"/>
                <a:gd name="T19" fmla="*/ 619 h 1426"/>
                <a:gd name="T20" fmla="*/ 1797 w 1883"/>
                <a:gd name="T21" fmla="*/ 702 h 1426"/>
                <a:gd name="T22" fmla="*/ 1826 w 1883"/>
                <a:gd name="T23" fmla="*/ 779 h 1426"/>
                <a:gd name="T24" fmla="*/ 1851 w 1883"/>
                <a:gd name="T25" fmla="*/ 846 h 1426"/>
                <a:gd name="T26" fmla="*/ 1867 w 1883"/>
                <a:gd name="T27" fmla="*/ 900 h 1426"/>
                <a:gd name="T28" fmla="*/ 1877 w 1883"/>
                <a:gd name="T29" fmla="*/ 937 h 1426"/>
                <a:gd name="T30" fmla="*/ 1881 w 1883"/>
                <a:gd name="T31" fmla="*/ 958 h 1426"/>
                <a:gd name="T32" fmla="*/ 1789 w 1883"/>
                <a:gd name="T33" fmla="*/ 1046 h 1426"/>
                <a:gd name="T34" fmla="*/ 1610 w 1883"/>
                <a:gd name="T35" fmla="*/ 1186 h 1426"/>
                <a:gd name="T36" fmla="*/ 1442 w 1883"/>
                <a:gd name="T37" fmla="*/ 1291 h 1426"/>
                <a:gd name="T38" fmla="*/ 1284 w 1883"/>
                <a:gd name="T39" fmla="*/ 1364 h 1426"/>
                <a:gd name="T40" fmla="*/ 1136 w 1883"/>
                <a:gd name="T41" fmla="*/ 1408 h 1426"/>
                <a:gd name="T42" fmla="*/ 998 w 1883"/>
                <a:gd name="T43" fmla="*/ 1426 h 1426"/>
                <a:gd name="T44" fmla="*/ 869 w 1883"/>
                <a:gd name="T45" fmla="*/ 1420 h 1426"/>
                <a:gd name="T46" fmla="*/ 752 w 1883"/>
                <a:gd name="T47" fmla="*/ 1392 h 1426"/>
                <a:gd name="T48" fmla="*/ 643 w 1883"/>
                <a:gd name="T49" fmla="*/ 1348 h 1426"/>
                <a:gd name="T50" fmla="*/ 544 w 1883"/>
                <a:gd name="T51" fmla="*/ 1288 h 1426"/>
                <a:gd name="T52" fmla="*/ 452 w 1883"/>
                <a:gd name="T53" fmla="*/ 1217 h 1426"/>
                <a:gd name="T54" fmla="*/ 371 w 1883"/>
                <a:gd name="T55" fmla="*/ 1136 h 1426"/>
                <a:gd name="T56" fmla="*/ 298 w 1883"/>
                <a:gd name="T57" fmla="*/ 1050 h 1426"/>
                <a:gd name="T58" fmla="*/ 233 w 1883"/>
                <a:gd name="T59" fmla="*/ 960 h 1426"/>
                <a:gd name="T60" fmla="*/ 177 w 1883"/>
                <a:gd name="T61" fmla="*/ 870 h 1426"/>
                <a:gd name="T62" fmla="*/ 129 w 1883"/>
                <a:gd name="T63" fmla="*/ 782 h 1426"/>
                <a:gd name="T64" fmla="*/ 89 w 1883"/>
                <a:gd name="T65" fmla="*/ 701 h 1426"/>
                <a:gd name="T66" fmla="*/ 57 w 1883"/>
                <a:gd name="T67" fmla="*/ 628 h 1426"/>
                <a:gd name="T68" fmla="*/ 31 w 1883"/>
                <a:gd name="T69" fmla="*/ 566 h 1426"/>
                <a:gd name="T70" fmla="*/ 15 w 1883"/>
                <a:gd name="T71" fmla="*/ 517 h 1426"/>
                <a:gd name="T72" fmla="*/ 3 w 1883"/>
                <a:gd name="T73" fmla="*/ 486 h 1426"/>
                <a:gd name="T74" fmla="*/ 0 w 1883"/>
                <a:gd name="T75" fmla="*/ 476 h 1426"/>
                <a:gd name="T76" fmla="*/ 195 w 1883"/>
                <a:gd name="T77" fmla="*/ 316 h 1426"/>
                <a:gd name="T78" fmla="*/ 379 w 1883"/>
                <a:gd name="T79" fmla="*/ 192 h 1426"/>
                <a:gd name="T80" fmla="*/ 548 w 1883"/>
                <a:gd name="T81" fmla="*/ 103 h 1426"/>
                <a:gd name="T82" fmla="*/ 706 w 1883"/>
                <a:gd name="T83" fmla="*/ 43 h 1426"/>
                <a:gd name="T84" fmla="*/ 853 w 1883"/>
                <a:gd name="T85" fmla="*/ 8 h 1426"/>
                <a:gd name="T86" fmla="*/ 986 w 1883"/>
                <a:gd name="T87" fmla="*/ 0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83" h="1426">
                  <a:moveTo>
                    <a:pt x="986" y="0"/>
                  </a:moveTo>
                  <a:lnTo>
                    <a:pt x="1050" y="5"/>
                  </a:lnTo>
                  <a:lnTo>
                    <a:pt x="1110" y="13"/>
                  </a:lnTo>
                  <a:lnTo>
                    <a:pt x="1167" y="28"/>
                  </a:lnTo>
                  <a:lnTo>
                    <a:pt x="1222" y="46"/>
                  </a:lnTo>
                  <a:lnTo>
                    <a:pt x="1274" y="69"/>
                  </a:lnTo>
                  <a:lnTo>
                    <a:pt x="1323" y="95"/>
                  </a:lnTo>
                  <a:lnTo>
                    <a:pt x="1370" y="124"/>
                  </a:lnTo>
                  <a:lnTo>
                    <a:pt x="1416" y="157"/>
                  </a:lnTo>
                  <a:lnTo>
                    <a:pt x="1458" y="192"/>
                  </a:lnTo>
                  <a:lnTo>
                    <a:pt x="1499" y="230"/>
                  </a:lnTo>
                  <a:lnTo>
                    <a:pt x="1536" y="269"/>
                  </a:lnTo>
                  <a:lnTo>
                    <a:pt x="1572" y="311"/>
                  </a:lnTo>
                  <a:lnTo>
                    <a:pt x="1605" y="354"/>
                  </a:lnTo>
                  <a:lnTo>
                    <a:pt x="1636" y="398"/>
                  </a:lnTo>
                  <a:lnTo>
                    <a:pt x="1665" y="442"/>
                  </a:lnTo>
                  <a:lnTo>
                    <a:pt x="1691" y="486"/>
                  </a:lnTo>
                  <a:lnTo>
                    <a:pt x="1717" y="531"/>
                  </a:lnTo>
                  <a:lnTo>
                    <a:pt x="1740" y="575"/>
                  </a:lnTo>
                  <a:lnTo>
                    <a:pt x="1761" y="619"/>
                  </a:lnTo>
                  <a:lnTo>
                    <a:pt x="1781" y="662"/>
                  </a:lnTo>
                  <a:lnTo>
                    <a:pt x="1797" y="702"/>
                  </a:lnTo>
                  <a:lnTo>
                    <a:pt x="1813" y="742"/>
                  </a:lnTo>
                  <a:lnTo>
                    <a:pt x="1826" y="779"/>
                  </a:lnTo>
                  <a:lnTo>
                    <a:pt x="1839" y="813"/>
                  </a:lnTo>
                  <a:lnTo>
                    <a:pt x="1851" y="846"/>
                  </a:lnTo>
                  <a:lnTo>
                    <a:pt x="1859" y="874"/>
                  </a:lnTo>
                  <a:lnTo>
                    <a:pt x="1867" y="900"/>
                  </a:lnTo>
                  <a:lnTo>
                    <a:pt x="1872" y="921"/>
                  </a:lnTo>
                  <a:lnTo>
                    <a:pt x="1877" y="937"/>
                  </a:lnTo>
                  <a:lnTo>
                    <a:pt x="1880" y="950"/>
                  </a:lnTo>
                  <a:lnTo>
                    <a:pt x="1881" y="958"/>
                  </a:lnTo>
                  <a:lnTo>
                    <a:pt x="1883" y="962"/>
                  </a:lnTo>
                  <a:lnTo>
                    <a:pt x="1789" y="1046"/>
                  </a:lnTo>
                  <a:lnTo>
                    <a:pt x="1698" y="1120"/>
                  </a:lnTo>
                  <a:lnTo>
                    <a:pt x="1610" y="1186"/>
                  </a:lnTo>
                  <a:lnTo>
                    <a:pt x="1525" y="1244"/>
                  </a:lnTo>
                  <a:lnTo>
                    <a:pt x="1442" y="1291"/>
                  </a:lnTo>
                  <a:lnTo>
                    <a:pt x="1361" y="1332"/>
                  </a:lnTo>
                  <a:lnTo>
                    <a:pt x="1284" y="1364"/>
                  </a:lnTo>
                  <a:lnTo>
                    <a:pt x="1208" y="1390"/>
                  </a:lnTo>
                  <a:lnTo>
                    <a:pt x="1136" y="1408"/>
                  </a:lnTo>
                  <a:lnTo>
                    <a:pt x="1066" y="1420"/>
                  </a:lnTo>
                  <a:lnTo>
                    <a:pt x="998" y="1426"/>
                  </a:lnTo>
                  <a:lnTo>
                    <a:pt x="933" y="1424"/>
                  </a:lnTo>
                  <a:lnTo>
                    <a:pt x="869" y="1420"/>
                  </a:lnTo>
                  <a:lnTo>
                    <a:pt x="809" y="1408"/>
                  </a:lnTo>
                  <a:lnTo>
                    <a:pt x="752" y="1392"/>
                  </a:lnTo>
                  <a:lnTo>
                    <a:pt x="697" y="1372"/>
                  </a:lnTo>
                  <a:lnTo>
                    <a:pt x="643" y="1348"/>
                  </a:lnTo>
                  <a:lnTo>
                    <a:pt x="591" y="1320"/>
                  </a:lnTo>
                  <a:lnTo>
                    <a:pt x="544" y="1288"/>
                  </a:lnTo>
                  <a:lnTo>
                    <a:pt x="496" y="1253"/>
                  </a:lnTo>
                  <a:lnTo>
                    <a:pt x="452" y="1217"/>
                  </a:lnTo>
                  <a:lnTo>
                    <a:pt x="410" y="1178"/>
                  </a:lnTo>
                  <a:lnTo>
                    <a:pt x="371" y="1136"/>
                  </a:lnTo>
                  <a:lnTo>
                    <a:pt x="334" y="1094"/>
                  </a:lnTo>
                  <a:lnTo>
                    <a:pt x="298" y="1050"/>
                  </a:lnTo>
                  <a:lnTo>
                    <a:pt x="264" y="1006"/>
                  </a:lnTo>
                  <a:lnTo>
                    <a:pt x="233" y="960"/>
                  </a:lnTo>
                  <a:lnTo>
                    <a:pt x="203" y="916"/>
                  </a:lnTo>
                  <a:lnTo>
                    <a:pt x="177" y="870"/>
                  </a:lnTo>
                  <a:lnTo>
                    <a:pt x="151" y="826"/>
                  </a:lnTo>
                  <a:lnTo>
                    <a:pt x="129" y="782"/>
                  </a:lnTo>
                  <a:lnTo>
                    <a:pt x="107" y="742"/>
                  </a:lnTo>
                  <a:lnTo>
                    <a:pt x="89" y="701"/>
                  </a:lnTo>
                  <a:lnTo>
                    <a:pt x="72" y="663"/>
                  </a:lnTo>
                  <a:lnTo>
                    <a:pt x="57" y="628"/>
                  </a:lnTo>
                  <a:lnTo>
                    <a:pt x="42" y="595"/>
                  </a:lnTo>
                  <a:lnTo>
                    <a:pt x="31" y="566"/>
                  </a:lnTo>
                  <a:lnTo>
                    <a:pt x="21" y="540"/>
                  </a:lnTo>
                  <a:lnTo>
                    <a:pt x="15" y="517"/>
                  </a:lnTo>
                  <a:lnTo>
                    <a:pt x="8" y="499"/>
                  </a:lnTo>
                  <a:lnTo>
                    <a:pt x="3" y="486"/>
                  </a:lnTo>
                  <a:lnTo>
                    <a:pt x="2" y="478"/>
                  </a:lnTo>
                  <a:lnTo>
                    <a:pt x="0" y="476"/>
                  </a:lnTo>
                  <a:lnTo>
                    <a:pt x="99" y="391"/>
                  </a:lnTo>
                  <a:lnTo>
                    <a:pt x="195" y="316"/>
                  </a:lnTo>
                  <a:lnTo>
                    <a:pt x="290" y="251"/>
                  </a:lnTo>
                  <a:lnTo>
                    <a:pt x="379" y="192"/>
                  </a:lnTo>
                  <a:lnTo>
                    <a:pt x="465" y="144"/>
                  </a:lnTo>
                  <a:lnTo>
                    <a:pt x="548" y="103"/>
                  </a:lnTo>
                  <a:lnTo>
                    <a:pt x="630" y="69"/>
                  </a:lnTo>
                  <a:lnTo>
                    <a:pt x="706" y="43"/>
                  </a:lnTo>
                  <a:lnTo>
                    <a:pt x="781" y="21"/>
                  </a:lnTo>
                  <a:lnTo>
                    <a:pt x="853" y="8"/>
                  </a:lnTo>
                  <a:lnTo>
                    <a:pt x="921" y="2"/>
                  </a:lnTo>
                  <a:lnTo>
                    <a:pt x="986" y="0"/>
                  </a:lnTo>
                  <a:close/>
                </a:path>
              </a:pathLst>
            </a:custGeom>
            <a:solidFill>
              <a:srgbClr val="39A0C8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0" name="Freeform 31"/>
            <p:cNvSpPr>
              <a:spLocks/>
            </p:cNvSpPr>
            <p:nvPr/>
          </p:nvSpPr>
          <p:spPr bwMode="auto">
            <a:xfrm>
              <a:off x="6181660" y="3553652"/>
              <a:ext cx="1046227" cy="932800"/>
            </a:xfrm>
            <a:custGeom>
              <a:avLst/>
              <a:gdLst>
                <a:gd name="T0" fmla="*/ 410 w 1401"/>
                <a:gd name="T1" fmla="*/ 0 h 1249"/>
                <a:gd name="T2" fmla="*/ 418 w 1401"/>
                <a:gd name="T3" fmla="*/ 32 h 1249"/>
                <a:gd name="T4" fmla="*/ 430 w 1401"/>
                <a:gd name="T5" fmla="*/ 71 h 1249"/>
                <a:gd name="T6" fmla="*/ 446 w 1401"/>
                <a:gd name="T7" fmla="*/ 115 h 1249"/>
                <a:gd name="T8" fmla="*/ 465 w 1401"/>
                <a:gd name="T9" fmla="*/ 164 h 1249"/>
                <a:gd name="T10" fmla="*/ 488 w 1401"/>
                <a:gd name="T11" fmla="*/ 218 h 1249"/>
                <a:gd name="T12" fmla="*/ 514 w 1401"/>
                <a:gd name="T13" fmla="*/ 277 h 1249"/>
                <a:gd name="T14" fmla="*/ 547 w 1401"/>
                <a:gd name="T15" fmla="*/ 338 h 1249"/>
                <a:gd name="T16" fmla="*/ 583 w 1401"/>
                <a:gd name="T17" fmla="*/ 404 h 1249"/>
                <a:gd name="T18" fmla="*/ 625 w 1401"/>
                <a:gd name="T19" fmla="*/ 470 h 1249"/>
                <a:gd name="T20" fmla="*/ 672 w 1401"/>
                <a:gd name="T21" fmla="*/ 539 h 1249"/>
                <a:gd name="T22" fmla="*/ 726 w 1401"/>
                <a:gd name="T23" fmla="*/ 609 h 1249"/>
                <a:gd name="T24" fmla="*/ 786 w 1401"/>
                <a:gd name="T25" fmla="*/ 679 h 1249"/>
                <a:gd name="T26" fmla="*/ 851 w 1401"/>
                <a:gd name="T27" fmla="*/ 749 h 1249"/>
                <a:gd name="T28" fmla="*/ 924 w 1401"/>
                <a:gd name="T29" fmla="*/ 819 h 1249"/>
                <a:gd name="T30" fmla="*/ 1004 w 1401"/>
                <a:gd name="T31" fmla="*/ 888 h 1249"/>
                <a:gd name="T32" fmla="*/ 1092 w 1401"/>
                <a:gd name="T33" fmla="*/ 954 h 1249"/>
                <a:gd name="T34" fmla="*/ 1186 w 1401"/>
                <a:gd name="T35" fmla="*/ 1018 h 1249"/>
                <a:gd name="T36" fmla="*/ 1291 w 1401"/>
                <a:gd name="T37" fmla="*/ 1080 h 1249"/>
                <a:gd name="T38" fmla="*/ 1401 w 1401"/>
                <a:gd name="T39" fmla="*/ 1137 h 1249"/>
                <a:gd name="T40" fmla="*/ 1315 w 1401"/>
                <a:gd name="T41" fmla="*/ 1176 h 1249"/>
                <a:gd name="T42" fmla="*/ 1230 w 1401"/>
                <a:gd name="T43" fmla="*/ 1207 h 1249"/>
                <a:gd name="T44" fmla="*/ 1151 w 1401"/>
                <a:gd name="T45" fmla="*/ 1230 h 1249"/>
                <a:gd name="T46" fmla="*/ 1073 w 1401"/>
                <a:gd name="T47" fmla="*/ 1245 h 1249"/>
                <a:gd name="T48" fmla="*/ 998 w 1401"/>
                <a:gd name="T49" fmla="*/ 1249 h 1249"/>
                <a:gd name="T50" fmla="*/ 926 w 1401"/>
                <a:gd name="T51" fmla="*/ 1249 h 1249"/>
                <a:gd name="T52" fmla="*/ 856 w 1401"/>
                <a:gd name="T53" fmla="*/ 1241 h 1249"/>
                <a:gd name="T54" fmla="*/ 791 w 1401"/>
                <a:gd name="T55" fmla="*/ 1228 h 1249"/>
                <a:gd name="T56" fmla="*/ 727 w 1401"/>
                <a:gd name="T57" fmla="*/ 1209 h 1249"/>
                <a:gd name="T58" fmla="*/ 667 w 1401"/>
                <a:gd name="T59" fmla="*/ 1184 h 1249"/>
                <a:gd name="T60" fmla="*/ 610 w 1401"/>
                <a:gd name="T61" fmla="*/ 1155 h 1249"/>
                <a:gd name="T62" fmla="*/ 557 w 1401"/>
                <a:gd name="T63" fmla="*/ 1122 h 1249"/>
                <a:gd name="T64" fmla="*/ 504 w 1401"/>
                <a:gd name="T65" fmla="*/ 1085 h 1249"/>
                <a:gd name="T66" fmla="*/ 456 w 1401"/>
                <a:gd name="T67" fmla="*/ 1044 h 1249"/>
                <a:gd name="T68" fmla="*/ 408 w 1401"/>
                <a:gd name="T69" fmla="*/ 1002 h 1249"/>
                <a:gd name="T70" fmla="*/ 365 w 1401"/>
                <a:gd name="T71" fmla="*/ 956 h 1249"/>
                <a:gd name="T72" fmla="*/ 324 w 1401"/>
                <a:gd name="T73" fmla="*/ 909 h 1249"/>
                <a:gd name="T74" fmla="*/ 286 w 1401"/>
                <a:gd name="T75" fmla="*/ 860 h 1249"/>
                <a:gd name="T76" fmla="*/ 251 w 1401"/>
                <a:gd name="T77" fmla="*/ 809 h 1249"/>
                <a:gd name="T78" fmla="*/ 216 w 1401"/>
                <a:gd name="T79" fmla="*/ 761 h 1249"/>
                <a:gd name="T80" fmla="*/ 185 w 1401"/>
                <a:gd name="T81" fmla="*/ 710 h 1249"/>
                <a:gd name="T82" fmla="*/ 158 w 1401"/>
                <a:gd name="T83" fmla="*/ 661 h 1249"/>
                <a:gd name="T84" fmla="*/ 132 w 1401"/>
                <a:gd name="T85" fmla="*/ 614 h 1249"/>
                <a:gd name="T86" fmla="*/ 109 w 1401"/>
                <a:gd name="T87" fmla="*/ 568 h 1249"/>
                <a:gd name="T88" fmla="*/ 88 w 1401"/>
                <a:gd name="T89" fmla="*/ 523 h 1249"/>
                <a:gd name="T90" fmla="*/ 68 w 1401"/>
                <a:gd name="T91" fmla="*/ 482 h 1249"/>
                <a:gd name="T92" fmla="*/ 52 w 1401"/>
                <a:gd name="T93" fmla="*/ 443 h 1249"/>
                <a:gd name="T94" fmla="*/ 39 w 1401"/>
                <a:gd name="T95" fmla="*/ 409 h 1249"/>
                <a:gd name="T96" fmla="*/ 26 w 1401"/>
                <a:gd name="T97" fmla="*/ 378 h 1249"/>
                <a:gd name="T98" fmla="*/ 16 w 1401"/>
                <a:gd name="T99" fmla="*/ 352 h 1249"/>
                <a:gd name="T100" fmla="*/ 10 w 1401"/>
                <a:gd name="T101" fmla="*/ 329 h 1249"/>
                <a:gd name="T102" fmla="*/ 5 w 1401"/>
                <a:gd name="T103" fmla="*/ 314 h 1249"/>
                <a:gd name="T104" fmla="*/ 2 w 1401"/>
                <a:gd name="T105" fmla="*/ 304 h 1249"/>
                <a:gd name="T106" fmla="*/ 0 w 1401"/>
                <a:gd name="T107" fmla="*/ 301 h 1249"/>
                <a:gd name="T108" fmla="*/ 86 w 1401"/>
                <a:gd name="T109" fmla="*/ 226 h 1249"/>
                <a:gd name="T110" fmla="*/ 171 w 1401"/>
                <a:gd name="T111" fmla="*/ 159 h 1249"/>
                <a:gd name="T112" fmla="*/ 254 w 1401"/>
                <a:gd name="T113" fmla="*/ 101 h 1249"/>
                <a:gd name="T114" fmla="*/ 332 w 1401"/>
                <a:gd name="T115" fmla="*/ 47 h 1249"/>
                <a:gd name="T116" fmla="*/ 410 w 1401"/>
                <a:gd name="T117" fmla="*/ 0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01" h="1249">
                  <a:moveTo>
                    <a:pt x="410" y="0"/>
                  </a:moveTo>
                  <a:lnTo>
                    <a:pt x="418" y="32"/>
                  </a:lnTo>
                  <a:lnTo>
                    <a:pt x="430" y="71"/>
                  </a:lnTo>
                  <a:lnTo>
                    <a:pt x="446" y="115"/>
                  </a:lnTo>
                  <a:lnTo>
                    <a:pt x="465" y="164"/>
                  </a:lnTo>
                  <a:lnTo>
                    <a:pt x="488" y="218"/>
                  </a:lnTo>
                  <a:lnTo>
                    <a:pt x="514" y="277"/>
                  </a:lnTo>
                  <a:lnTo>
                    <a:pt x="547" y="338"/>
                  </a:lnTo>
                  <a:lnTo>
                    <a:pt x="583" y="404"/>
                  </a:lnTo>
                  <a:lnTo>
                    <a:pt x="625" y="470"/>
                  </a:lnTo>
                  <a:lnTo>
                    <a:pt x="672" y="539"/>
                  </a:lnTo>
                  <a:lnTo>
                    <a:pt x="726" y="609"/>
                  </a:lnTo>
                  <a:lnTo>
                    <a:pt x="786" y="679"/>
                  </a:lnTo>
                  <a:lnTo>
                    <a:pt x="851" y="749"/>
                  </a:lnTo>
                  <a:lnTo>
                    <a:pt x="924" y="819"/>
                  </a:lnTo>
                  <a:lnTo>
                    <a:pt x="1004" y="888"/>
                  </a:lnTo>
                  <a:lnTo>
                    <a:pt x="1092" y="954"/>
                  </a:lnTo>
                  <a:lnTo>
                    <a:pt x="1186" y="1018"/>
                  </a:lnTo>
                  <a:lnTo>
                    <a:pt x="1291" y="1080"/>
                  </a:lnTo>
                  <a:lnTo>
                    <a:pt x="1401" y="1137"/>
                  </a:lnTo>
                  <a:lnTo>
                    <a:pt x="1315" y="1176"/>
                  </a:lnTo>
                  <a:lnTo>
                    <a:pt x="1230" y="1207"/>
                  </a:lnTo>
                  <a:lnTo>
                    <a:pt x="1151" y="1230"/>
                  </a:lnTo>
                  <a:lnTo>
                    <a:pt x="1073" y="1245"/>
                  </a:lnTo>
                  <a:lnTo>
                    <a:pt x="998" y="1249"/>
                  </a:lnTo>
                  <a:lnTo>
                    <a:pt x="926" y="1249"/>
                  </a:lnTo>
                  <a:lnTo>
                    <a:pt x="856" y="1241"/>
                  </a:lnTo>
                  <a:lnTo>
                    <a:pt x="791" y="1228"/>
                  </a:lnTo>
                  <a:lnTo>
                    <a:pt x="727" y="1209"/>
                  </a:lnTo>
                  <a:lnTo>
                    <a:pt x="667" y="1184"/>
                  </a:lnTo>
                  <a:lnTo>
                    <a:pt x="610" y="1155"/>
                  </a:lnTo>
                  <a:lnTo>
                    <a:pt x="557" y="1122"/>
                  </a:lnTo>
                  <a:lnTo>
                    <a:pt x="504" y="1085"/>
                  </a:lnTo>
                  <a:lnTo>
                    <a:pt x="456" y="1044"/>
                  </a:lnTo>
                  <a:lnTo>
                    <a:pt x="408" y="1002"/>
                  </a:lnTo>
                  <a:lnTo>
                    <a:pt x="365" y="956"/>
                  </a:lnTo>
                  <a:lnTo>
                    <a:pt x="324" y="909"/>
                  </a:lnTo>
                  <a:lnTo>
                    <a:pt x="286" y="860"/>
                  </a:lnTo>
                  <a:lnTo>
                    <a:pt x="251" y="809"/>
                  </a:lnTo>
                  <a:lnTo>
                    <a:pt x="216" y="761"/>
                  </a:lnTo>
                  <a:lnTo>
                    <a:pt x="185" y="710"/>
                  </a:lnTo>
                  <a:lnTo>
                    <a:pt x="158" y="661"/>
                  </a:lnTo>
                  <a:lnTo>
                    <a:pt x="132" y="614"/>
                  </a:lnTo>
                  <a:lnTo>
                    <a:pt x="109" y="568"/>
                  </a:lnTo>
                  <a:lnTo>
                    <a:pt x="88" y="523"/>
                  </a:lnTo>
                  <a:lnTo>
                    <a:pt x="68" y="482"/>
                  </a:lnTo>
                  <a:lnTo>
                    <a:pt x="52" y="443"/>
                  </a:lnTo>
                  <a:lnTo>
                    <a:pt x="39" y="409"/>
                  </a:lnTo>
                  <a:lnTo>
                    <a:pt x="26" y="378"/>
                  </a:lnTo>
                  <a:lnTo>
                    <a:pt x="16" y="352"/>
                  </a:lnTo>
                  <a:lnTo>
                    <a:pt x="10" y="329"/>
                  </a:lnTo>
                  <a:lnTo>
                    <a:pt x="5" y="314"/>
                  </a:lnTo>
                  <a:lnTo>
                    <a:pt x="2" y="304"/>
                  </a:lnTo>
                  <a:lnTo>
                    <a:pt x="0" y="301"/>
                  </a:lnTo>
                  <a:lnTo>
                    <a:pt x="86" y="226"/>
                  </a:lnTo>
                  <a:lnTo>
                    <a:pt x="171" y="159"/>
                  </a:lnTo>
                  <a:lnTo>
                    <a:pt x="254" y="101"/>
                  </a:lnTo>
                  <a:lnTo>
                    <a:pt x="332" y="47"/>
                  </a:lnTo>
                  <a:lnTo>
                    <a:pt x="410" y="0"/>
                  </a:lnTo>
                  <a:close/>
                </a:path>
              </a:pathLst>
            </a:custGeom>
            <a:solidFill>
              <a:sysClr val="window" lastClr="FFFFFF">
                <a:alpha val="20000"/>
              </a:sys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61" name="Group 5"/>
          <p:cNvGrpSpPr/>
          <p:nvPr/>
        </p:nvGrpSpPr>
        <p:grpSpPr>
          <a:xfrm>
            <a:off x="7365859" y="2308254"/>
            <a:ext cx="974096" cy="752405"/>
            <a:chOff x="6232404" y="2234301"/>
            <a:chExt cx="1298456" cy="1002946"/>
          </a:xfrm>
        </p:grpSpPr>
        <p:sp>
          <p:nvSpPr>
            <p:cNvPr id="162" name="Freeform 25"/>
            <p:cNvSpPr>
              <a:spLocks/>
            </p:cNvSpPr>
            <p:nvPr/>
          </p:nvSpPr>
          <p:spPr bwMode="auto">
            <a:xfrm>
              <a:off x="6232404" y="2234301"/>
              <a:ext cx="1298456" cy="1002946"/>
            </a:xfrm>
            <a:custGeom>
              <a:avLst/>
              <a:gdLst>
                <a:gd name="T0" fmla="*/ 957 w 1740"/>
                <a:gd name="T1" fmla="*/ 2 h 1345"/>
                <a:gd name="T2" fmla="*/ 1065 w 1740"/>
                <a:gd name="T3" fmla="*/ 20 h 1345"/>
                <a:gd name="T4" fmla="*/ 1167 w 1740"/>
                <a:gd name="T5" fmla="*/ 48 h 1345"/>
                <a:gd name="T6" fmla="*/ 1267 w 1740"/>
                <a:gd name="T7" fmla="*/ 87 h 1345"/>
                <a:gd name="T8" fmla="*/ 1361 w 1740"/>
                <a:gd name="T9" fmla="*/ 131 h 1345"/>
                <a:gd name="T10" fmla="*/ 1446 w 1740"/>
                <a:gd name="T11" fmla="*/ 180 h 1345"/>
                <a:gd name="T12" fmla="*/ 1524 w 1740"/>
                <a:gd name="T13" fmla="*/ 230 h 1345"/>
                <a:gd name="T14" fmla="*/ 1591 w 1740"/>
                <a:gd name="T15" fmla="*/ 279 h 1345"/>
                <a:gd name="T16" fmla="*/ 1647 w 1740"/>
                <a:gd name="T17" fmla="*/ 323 h 1345"/>
                <a:gd name="T18" fmla="*/ 1691 w 1740"/>
                <a:gd name="T19" fmla="*/ 361 h 1345"/>
                <a:gd name="T20" fmla="*/ 1722 w 1740"/>
                <a:gd name="T21" fmla="*/ 387 h 1345"/>
                <a:gd name="T22" fmla="*/ 1739 w 1740"/>
                <a:gd name="T23" fmla="*/ 403 h 1345"/>
                <a:gd name="T24" fmla="*/ 1708 w 1740"/>
                <a:gd name="T25" fmla="*/ 524 h 1345"/>
                <a:gd name="T26" fmla="*/ 1633 w 1740"/>
                <a:gd name="T27" fmla="*/ 732 h 1345"/>
                <a:gd name="T28" fmla="*/ 1548 w 1740"/>
                <a:gd name="T29" fmla="*/ 905 h 1345"/>
                <a:gd name="T30" fmla="*/ 1455 w 1740"/>
                <a:gd name="T31" fmla="*/ 1045 h 1345"/>
                <a:gd name="T32" fmla="*/ 1356 w 1740"/>
                <a:gd name="T33" fmla="*/ 1156 h 1345"/>
                <a:gd name="T34" fmla="*/ 1250 w 1740"/>
                <a:gd name="T35" fmla="*/ 1237 h 1345"/>
                <a:gd name="T36" fmla="*/ 1141 w 1740"/>
                <a:gd name="T37" fmla="*/ 1294 h 1345"/>
                <a:gd name="T38" fmla="*/ 1029 w 1740"/>
                <a:gd name="T39" fmla="*/ 1329 h 1345"/>
                <a:gd name="T40" fmla="*/ 915 w 1740"/>
                <a:gd name="T41" fmla="*/ 1343 h 1345"/>
                <a:gd name="T42" fmla="*/ 803 w 1740"/>
                <a:gd name="T43" fmla="*/ 1342 h 1345"/>
                <a:gd name="T44" fmla="*/ 690 w 1740"/>
                <a:gd name="T45" fmla="*/ 1325 h 1345"/>
                <a:gd name="T46" fmla="*/ 583 w 1740"/>
                <a:gd name="T47" fmla="*/ 1299 h 1345"/>
                <a:gd name="T48" fmla="*/ 479 w 1740"/>
                <a:gd name="T49" fmla="*/ 1262 h 1345"/>
                <a:gd name="T50" fmla="*/ 367 w 1740"/>
                <a:gd name="T51" fmla="*/ 1211 h 1345"/>
                <a:gd name="T52" fmla="*/ 264 w 1740"/>
                <a:gd name="T53" fmla="*/ 1157 h 1345"/>
                <a:gd name="T54" fmla="*/ 176 w 1740"/>
                <a:gd name="T55" fmla="*/ 1104 h 1345"/>
                <a:gd name="T56" fmla="*/ 103 w 1740"/>
                <a:gd name="T57" fmla="*/ 1053 h 1345"/>
                <a:gd name="T58" fmla="*/ 47 w 1740"/>
                <a:gd name="T59" fmla="*/ 1012 h 1345"/>
                <a:gd name="T60" fmla="*/ 12 w 1740"/>
                <a:gd name="T61" fmla="*/ 985 h 1345"/>
                <a:gd name="T62" fmla="*/ 0 w 1740"/>
                <a:gd name="T63" fmla="*/ 975 h 1345"/>
                <a:gd name="T64" fmla="*/ 78 w 1740"/>
                <a:gd name="T65" fmla="*/ 740 h 1345"/>
                <a:gd name="T66" fmla="*/ 165 w 1740"/>
                <a:gd name="T67" fmla="*/ 543 h 1345"/>
                <a:gd name="T68" fmla="*/ 259 w 1740"/>
                <a:gd name="T69" fmla="*/ 380 h 1345"/>
                <a:gd name="T70" fmla="*/ 360 w 1740"/>
                <a:gd name="T71" fmla="*/ 251 h 1345"/>
                <a:gd name="T72" fmla="*/ 464 w 1740"/>
                <a:gd name="T73" fmla="*/ 152 h 1345"/>
                <a:gd name="T74" fmla="*/ 572 w 1740"/>
                <a:gd name="T75" fmla="*/ 80 h 1345"/>
                <a:gd name="T76" fmla="*/ 681 w 1740"/>
                <a:gd name="T77" fmla="*/ 33 h 1345"/>
                <a:gd name="T78" fmla="*/ 791 w 1740"/>
                <a:gd name="T79" fmla="*/ 7 h 1345"/>
                <a:gd name="T80" fmla="*/ 902 w 1740"/>
                <a:gd name="T81" fmla="*/ 0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740" h="1345">
                  <a:moveTo>
                    <a:pt x="902" y="0"/>
                  </a:moveTo>
                  <a:lnTo>
                    <a:pt x="957" y="2"/>
                  </a:lnTo>
                  <a:lnTo>
                    <a:pt x="1011" y="9"/>
                  </a:lnTo>
                  <a:lnTo>
                    <a:pt x="1065" y="20"/>
                  </a:lnTo>
                  <a:lnTo>
                    <a:pt x="1117" y="33"/>
                  </a:lnTo>
                  <a:lnTo>
                    <a:pt x="1167" y="48"/>
                  </a:lnTo>
                  <a:lnTo>
                    <a:pt x="1218" y="66"/>
                  </a:lnTo>
                  <a:lnTo>
                    <a:pt x="1267" y="87"/>
                  </a:lnTo>
                  <a:lnTo>
                    <a:pt x="1314" y="108"/>
                  </a:lnTo>
                  <a:lnTo>
                    <a:pt x="1361" y="131"/>
                  </a:lnTo>
                  <a:lnTo>
                    <a:pt x="1403" y="155"/>
                  </a:lnTo>
                  <a:lnTo>
                    <a:pt x="1446" y="180"/>
                  </a:lnTo>
                  <a:lnTo>
                    <a:pt x="1486" y="204"/>
                  </a:lnTo>
                  <a:lnTo>
                    <a:pt x="1524" y="230"/>
                  </a:lnTo>
                  <a:lnTo>
                    <a:pt x="1558" y="255"/>
                  </a:lnTo>
                  <a:lnTo>
                    <a:pt x="1591" y="279"/>
                  </a:lnTo>
                  <a:lnTo>
                    <a:pt x="1620" y="302"/>
                  </a:lnTo>
                  <a:lnTo>
                    <a:pt x="1647" y="323"/>
                  </a:lnTo>
                  <a:lnTo>
                    <a:pt x="1670" y="343"/>
                  </a:lnTo>
                  <a:lnTo>
                    <a:pt x="1691" y="361"/>
                  </a:lnTo>
                  <a:lnTo>
                    <a:pt x="1709" y="375"/>
                  </a:lnTo>
                  <a:lnTo>
                    <a:pt x="1722" y="387"/>
                  </a:lnTo>
                  <a:lnTo>
                    <a:pt x="1732" y="396"/>
                  </a:lnTo>
                  <a:lnTo>
                    <a:pt x="1739" y="403"/>
                  </a:lnTo>
                  <a:lnTo>
                    <a:pt x="1740" y="405"/>
                  </a:lnTo>
                  <a:lnTo>
                    <a:pt x="1708" y="524"/>
                  </a:lnTo>
                  <a:lnTo>
                    <a:pt x="1672" y="633"/>
                  </a:lnTo>
                  <a:lnTo>
                    <a:pt x="1633" y="732"/>
                  </a:lnTo>
                  <a:lnTo>
                    <a:pt x="1592" y="823"/>
                  </a:lnTo>
                  <a:lnTo>
                    <a:pt x="1548" y="905"/>
                  </a:lnTo>
                  <a:lnTo>
                    <a:pt x="1504" y="980"/>
                  </a:lnTo>
                  <a:lnTo>
                    <a:pt x="1455" y="1045"/>
                  </a:lnTo>
                  <a:lnTo>
                    <a:pt x="1407" y="1104"/>
                  </a:lnTo>
                  <a:lnTo>
                    <a:pt x="1356" y="1156"/>
                  </a:lnTo>
                  <a:lnTo>
                    <a:pt x="1304" y="1200"/>
                  </a:lnTo>
                  <a:lnTo>
                    <a:pt x="1250" y="1237"/>
                  </a:lnTo>
                  <a:lnTo>
                    <a:pt x="1197" y="1268"/>
                  </a:lnTo>
                  <a:lnTo>
                    <a:pt x="1141" y="1294"/>
                  </a:lnTo>
                  <a:lnTo>
                    <a:pt x="1084" y="1314"/>
                  </a:lnTo>
                  <a:lnTo>
                    <a:pt x="1029" y="1329"/>
                  </a:lnTo>
                  <a:lnTo>
                    <a:pt x="972" y="1338"/>
                  </a:lnTo>
                  <a:lnTo>
                    <a:pt x="915" y="1343"/>
                  </a:lnTo>
                  <a:lnTo>
                    <a:pt x="858" y="1345"/>
                  </a:lnTo>
                  <a:lnTo>
                    <a:pt x="803" y="1342"/>
                  </a:lnTo>
                  <a:lnTo>
                    <a:pt x="746" y="1335"/>
                  </a:lnTo>
                  <a:lnTo>
                    <a:pt x="690" y="1325"/>
                  </a:lnTo>
                  <a:lnTo>
                    <a:pt x="637" y="1314"/>
                  </a:lnTo>
                  <a:lnTo>
                    <a:pt x="583" y="1299"/>
                  </a:lnTo>
                  <a:lnTo>
                    <a:pt x="529" y="1281"/>
                  </a:lnTo>
                  <a:lnTo>
                    <a:pt x="479" y="1262"/>
                  </a:lnTo>
                  <a:lnTo>
                    <a:pt x="422" y="1237"/>
                  </a:lnTo>
                  <a:lnTo>
                    <a:pt x="367" y="1211"/>
                  </a:lnTo>
                  <a:lnTo>
                    <a:pt x="313" y="1185"/>
                  </a:lnTo>
                  <a:lnTo>
                    <a:pt x="264" y="1157"/>
                  </a:lnTo>
                  <a:lnTo>
                    <a:pt x="218" y="1130"/>
                  </a:lnTo>
                  <a:lnTo>
                    <a:pt x="176" y="1104"/>
                  </a:lnTo>
                  <a:lnTo>
                    <a:pt x="137" y="1078"/>
                  </a:lnTo>
                  <a:lnTo>
                    <a:pt x="103" y="1053"/>
                  </a:lnTo>
                  <a:lnTo>
                    <a:pt x="72" y="1032"/>
                  </a:lnTo>
                  <a:lnTo>
                    <a:pt x="47" y="1012"/>
                  </a:lnTo>
                  <a:lnTo>
                    <a:pt x="26" y="998"/>
                  </a:lnTo>
                  <a:lnTo>
                    <a:pt x="12" y="985"/>
                  </a:lnTo>
                  <a:lnTo>
                    <a:pt x="4" y="978"/>
                  </a:lnTo>
                  <a:lnTo>
                    <a:pt x="0" y="975"/>
                  </a:lnTo>
                  <a:lnTo>
                    <a:pt x="38" y="853"/>
                  </a:lnTo>
                  <a:lnTo>
                    <a:pt x="78" y="740"/>
                  </a:lnTo>
                  <a:lnTo>
                    <a:pt x="121" y="636"/>
                  </a:lnTo>
                  <a:lnTo>
                    <a:pt x="165" y="543"/>
                  </a:lnTo>
                  <a:lnTo>
                    <a:pt x="212" y="457"/>
                  </a:lnTo>
                  <a:lnTo>
                    <a:pt x="259" y="380"/>
                  </a:lnTo>
                  <a:lnTo>
                    <a:pt x="308" y="312"/>
                  </a:lnTo>
                  <a:lnTo>
                    <a:pt x="360" y="251"/>
                  </a:lnTo>
                  <a:lnTo>
                    <a:pt x="410" y="198"/>
                  </a:lnTo>
                  <a:lnTo>
                    <a:pt x="464" y="152"/>
                  </a:lnTo>
                  <a:lnTo>
                    <a:pt x="518" y="113"/>
                  </a:lnTo>
                  <a:lnTo>
                    <a:pt x="572" y="80"/>
                  </a:lnTo>
                  <a:lnTo>
                    <a:pt x="627" y="54"/>
                  </a:lnTo>
                  <a:lnTo>
                    <a:pt x="681" y="33"/>
                  </a:lnTo>
                  <a:lnTo>
                    <a:pt x="736" y="17"/>
                  </a:lnTo>
                  <a:lnTo>
                    <a:pt x="791" y="7"/>
                  </a:lnTo>
                  <a:lnTo>
                    <a:pt x="847" y="0"/>
                  </a:lnTo>
                  <a:lnTo>
                    <a:pt x="902" y="0"/>
                  </a:lnTo>
                  <a:close/>
                </a:path>
              </a:pathLst>
            </a:custGeom>
            <a:solidFill>
              <a:srgbClr val="F3B61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3" name="Freeform 32"/>
            <p:cNvSpPr>
              <a:spLocks/>
            </p:cNvSpPr>
            <p:nvPr/>
          </p:nvSpPr>
          <p:spPr bwMode="auto">
            <a:xfrm>
              <a:off x="6232404" y="2235794"/>
              <a:ext cx="617886" cy="914890"/>
            </a:xfrm>
            <a:custGeom>
              <a:avLst/>
              <a:gdLst>
                <a:gd name="T0" fmla="*/ 827 w 827"/>
                <a:gd name="T1" fmla="*/ 0 h 1225"/>
                <a:gd name="T2" fmla="*/ 770 w 827"/>
                <a:gd name="T3" fmla="*/ 55 h 1225"/>
                <a:gd name="T4" fmla="*/ 718 w 827"/>
                <a:gd name="T5" fmla="*/ 117 h 1225"/>
                <a:gd name="T6" fmla="*/ 673 w 827"/>
                <a:gd name="T7" fmla="*/ 184 h 1225"/>
                <a:gd name="T8" fmla="*/ 630 w 827"/>
                <a:gd name="T9" fmla="*/ 256 h 1225"/>
                <a:gd name="T10" fmla="*/ 593 w 827"/>
                <a:gd name="T11" fmla="*/ 329 h 1225"/>
                <a:gd name="T12" fmla="*/ 559 w 827"/>
                <a:gd name="T13" fmla="*/ 407 h 1225"/>
                <a:gd name="T14" fmla="*/ 529 w 827"/>
                <a:gd name="T15" fmla="*/ 486 h 1225"/>
                <a:gd name="T16" fmla="*/ 505 w 827"/>
                <a:gd name="T17" fmla="*/ 566 h 1225"/>
                <a:gd name="T18" fmla="*/ 482 w 827"/>
                <a:gd name="T19" fmla="*/ 645 h 1225"/>
                <a:gd name="T20" fmla="*/ 464 w 827"/>
                <a:gd name="T21" fmla="*/ 724 h 1225"/>
                <a:gd name="T22" fmla="*/ 448 w 827"/>
                <a:gd name="T23" fmla="*/ 800 h 1225"/>
                <a:gd name="T24" fmla="*/ 435 w 827"/>
                <a:gd name="T25" fmla="*/ 875 h 1225"/>
                <a:gd name="T26" fmla="*/ 425 w 827"/>
                <a:gd name="T27" fmla="*/ 947 h 1225"/>
                <a:gd name="T28" fmla="*/ 415 w 827"/>
                <a:gd name="T29" fmla="*/ 1015 h 1225"/>
                <a:gd name="T30" fmla="*/ 409 w 827"/>
                <a:gd name="T31" fmla="*/ 1077 h 1225"/>
                <a:gd name="T32" fmla="*/ 406 w 827"/>
                <a:gd name="T33" fmla="*/ 1134 h 1225"/>
                <a:gd name="T34" fmla="*/ 402 w 827"/>
                <a:gd name="T35" fmla="*/ 1183 h 1225"/>
                <a:gd name="T36" fmla="*/ 399 w 827"/>
                <a:gd name="T37" fmla="*/ 1225 h 1225"/>
                <a:gd name="T38" fmla="*/ 342 w 827"/>
                <a:gd name="T39" fmla="*/ 1198 h 1225"/>
                <a:gd name="T40" fmla="*/ 288 w 827"/>
                <a:gd name="T41" fmla="*/ 1170 h 1225"/>
                <a:gd name="T42" fmla="*/ 238 w 827"/>
                <a:gd name="T43" fmla="*/ 1141 h 1225"/>
                <a:gd name="T44" fmla="*/ 192 w 827"/>
                <a:gd name="T45" fmla="*/ 1111 h 1225"/>
                <a:gd name="T46" fmla="*/ 150 w 827"/>
                <a:gd name="T47" fmla="*/ 1085 h 1225"/>
                <a:gd name="T48" fmla="*/ 113 w 827"/>
                <a:gd name="T49" fmla="*/ 1059 h 1225"/>
                <a:gd name="T50" fmla="*/ 80 w 827"/>
                <a:gd name="T51" fmla="*/ 1035 h 1225"/>
                <a:gd name="T52" fmla="*/ 52 w 827"/>
                <a:gd name="T53" fmla="*/ 1015 h 1225"/>
                <a:gd name="T54" fmla="*/ 30 w 827"/>
                <a:gd name="T55" fmla="*/ 997 h 1225"/>
                <a:gd name="T56" fmla="*/ 13 w 827"/>
                <a:gd name="T57" fmla="*/ 984 h 1225"/>
                <a:gd name="T58" fmla="*/ 4 w 827"/>
                <a:gd name="T59" fmla="*/ 976 h 1225"/>
                <a:gd name="T60" fmla="*/ 0 w 827"/>
                <a:gd name="T61" fmla="*/ 973 h 1225"/>
                <a:gd name="T62" fmla="*/ 38 w 827"/>
                <a:gd name="T63" fmla="*/ 852 h 1225"/>
                <a:gd name="T64" fmla="*/ 77 w 827"/>
                <a:gd name="T65" fmla="*/ 743 h 1225"/>
                <a:gd name="T66" fmla="*/ 119 w 827"/>
                <a:gd name="T67" fmla="*/ 640 h 1225"/>
                <a:gd name="T68" fmla="*/ 161 w 827"/>
                <a:gd name="T69" fmla="*/ 548 h 1225"/>
                <a:gd name="T70" fmla="*/ 207 w 827"/>
                <a:gd name="T71" fmla="*/ 464 h 1225"/>
                <a:gd name="T72" fmla="*/ 253 w 827"/>
                <a:gd name="T73" fmla="*/ 388 h 1225"/>
                <a:gd name="T74" fmla="*/ 301 w 827"/>
                <a:gd name="T75" fmla="*/ 319 h 1225"/>
                <a:gd name="T76" fmla="*/ 350 w 827"/>
                <a:gd name="T77" fmla="*/ 259 h 1225"/>
                <a:gd name="T78" fmla="*/ 401 w 827"/>
                <a:gd name="T79" fmla="*/ 205 h 1225"/>
                <a:gd name="T80" fmla="*/ 453 w 827"/>
                <a:gd name="T81" fmla="*/ 160 h 1225"/>
                <a:gd name="T82" fmla="*/ 505 w 827"/>
                <a:gd name="T83" fmla="*/ 119 h 1225"/>
                <a:gd name="T84" fmla="*/ 559 w 827"/>
                <a:gd name="T85" fmla="*/ 86 h 1225"/>
                <a:gd name="T86" fmla="*/ 611 w 827"/>
                <a:gd name="T87" fmla="*/ 59 h 1225"/>
                <a:gd name="T88" fmla="*/ 666 w 827"/>
                <a:gd name="T89" fmla="*/ 36 h 1225"/>
                <a:gd name="T90" fmla="*/ 720 w 827"/>
                <a:gd name="T91" fmla="*/ 20 h 1225"/>
                <a:gd name="T92" fmla="*/ 773 w 827"/>
                <a:gd name="T93" fmla="*/ 8 h 1225"/>
                <a:gd name="T94" fmla="*/ 827 w 827"/>
                <a:gd name="T95" fmla="*/ 0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27" h="1225">
                  <a:moveTo>
                    <a:pt x="827" y="0"/>
                  </a:moveTo>
                  <a:lnTo>
                    <a:pt x="770" y="55"/>
                  </a:lnTo>
                  <a:lnTo>
                    <a:pt x="718" y="117"/>
                  </a:lnTo>
                  <a:lnTo>
                    <a:pt x="673" y="184"/>
                  </a:lnTo>
                  <a:lnTo>
                    <a:pt x="630" y="256"/>
                  </a:lnTo>
                  <a:lnTo>
                    <a:pt x="593" y="329"/>
                  </a:lnTo>
                  <a:lnTo>
                    <a:pt x="559" y="407"/>
                  </a:lnTo>
                  <a:lnTo>
                    <a:pt x="529" y="486"/>
                  </a:lnTo>
                  <a:lnTo>
                    <a:pt x="505" y="566"/>
                  </a:lnTo>
                  <a:lnTo>
                    <a:pt x="482" y="645"/>
                  </a:lnTo>
                  <a:lnTo>
                    <a:pt x="464" y="724"/>
                  </a:lnTo>
                  <a:lnTo>
                    <a:pt x="448" y="800"/>
                  </a:lnTo>
                  <a:lnTo>
                    <a:pt x="435" y="875"/>
                  </a:lnTo>
                  <a:lnTo>
                    <a:pt x="425" y="947"/>
                  </a:lnTo>
                  <a:lnTo>
                    <a:pt x="415" y="1015"/>
                  </a:lnTo>
                  <a:lnTo>
                    <a:pt x="409" y="1077"/>
                  </a:lnTo>
                  <a:lnTo>
                    <a:pt x="406" y="1134"/>
                  </a:lnTo>
                  <a:lnTo>
                    <a:pt x="402" y="1183"/>
                  </a:lnTo>
                  <a:lnTo>
                    <a:pt x="399" y="1225"/>
                  </a:lnTo>
                  <a:lnTo>
                    <a:pt x="342" y="1198"/>
                  </a:lnTo>
                  <a:lnTo>
                    <a:pt x="288" y="1170"/>
                  </a:lnTo>
                  <a:lnTo>
                    <a:pt x="238" y="1141"/>
                  </a:lnTo>
                  <a:lnTo>
                    <a:pt x="192" y="1111"/>
                  </a:lnTo>
                  <a:lnTo>
                    <a:pt x="150" y="1085"/>
                  </a:lnTo>
                  <a:lnTo>
                    <a:pt x="113" y="1059"/>
                  </a:lnTo>
                  <a:lnTo>
                    <a:pt x="80" y="1035"/>
                  </a:lnTo>
                  <a:lnTo>
                    <a:pt x="52" y="1015"/>
                  </a:lnTo>
                  <a:lnTo>
                    <a:pt x="30" y="997"/>
                  </a:lnTo>
                  <a:lnTo>
                    <a:pt x="13" y="984"/>
                  </a:lnTo>
                  <a:lnTo>
                    <a:pt x="4" y="976"/>
                  </a:lnTo>
                  <a:lnTo>
                    <a:pt x="0" y="973"/>
                  </a:lnTo>
                  <a:lnTo>
                    <a:pt x="38" y="852"/>
                  </a:lnTo>
                  <a:lnTo>
                    <a:pt x="77" y="743"/>
                  </a:lnTo>
                  <a:lnTo>
                    <a:pt x="119" y="640"/>
                  </a:lnTo>
                  <a:lnTo>
                    <a:pt x="161" y="548"/>
                  </a:lnTo>
                  <a:lnTo>
                    <a:pt x="207" y="464"/>
                  </a:lnTo>
                  <a:lnTo>
                    <a:pt x="253" y="388"/>
                  </a:lnTo>
                  <a:lnTo>
                    <a:pt x="301" y="319"/>
                  </a:lnTo>
                  <a:lnTo>
                    <a:pt x="350" y="259"/>
                  </a:lnTo>
                  <a:lnTo>
                    <a:pt x="401" y="205"/>
                  </a:lnTo>
                  <a:lnTo>
                    <a:pt x="453" y="160"/>
                  </a:lnTo>
                  <a:lnTo>
                    <a:pt x="505" y="119"/>
                  </a:lnTo>
                  <a:lnTo>
                    <a:pt x="559" y="86"/>
                  </a:lnTo>
                  <a:lnTo>
                    <a:pt x="611" y="59"/>
                  </a:lnTo>
                  <a:lnTo>
                    <a:pt x="666" y="36"/>
                  </a:lnTo>
                  <a:lnTo>
                    <a:pt x="720" y="20"/>
                  </a:lnTo>
                  <a:lnTo>
                    <a:pt x="773" y="8"/>
                  </a:lnTo>
                  <a:lnTo>
                    <a:pt x="827" y="0"/>
                  </a:lnTo>
                  <a:close/>
                </a:path>
              </a:pathLst>
            </a:custGeom>
            <a:solidFill>
              <a:sysClr val="window" lastClr="FFFFFF">
                <a:alpha val="20000"/>
              </a:sys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64" name="Group 4"/>
          <p:cNvGrpSpPr/>
          <p:nvPr/>
        </p:nvGrpSpPr>
        <p:grpSpPr>
          <a:xfrm>
            <a:off x="7475585" y="1656616"/>
            <a:ext cx="541911" cy="535194"/>
            <a:chOff x="6378667" y="1365678"/>
            <a:chExt cx="722360" cy="713406"/>
          </a:xfrm>
        </p:grpSpPr>
        <p:sp>
          <p:nvSpPr>
            <p:cNvPr id="165" name="Freeform 26"/>
            <p:cNvSpPr>
              <a:spLocks/>
            </p:cNvSpPr>
            <p:nvPr/>
          </p:nvSpPr>
          <p:spPr bwMode="auto">
            <a:xfrm>
              <a:off x="6378667" y="1365678"/>
              <a:ext cx="722360" cy="713405"/>
            </a:xfrm>
            <a:custGeom>
              <a:avLst/>
              <a:gdLst>
                <a:gd name="T0" fmla="*/ 597 w 968"/>
                <a:gd name="T1" fmla="*/ 2 h 955"/>
                <a:gd name="T2" fmla="*/ 675 w 968"/>
                <a:gd name="T3" fmla="*/ 6 h 955"/>
                <a:gd name="T4" fmla="*/ 747 w 968"/>
                <a:gd name="T5" fmla="*/ 16 h 955"/>
                <a:gd name="T6" fmla="*/ 812 w 968"/>
                <a:gd name="T7" fmla="*/ 29 h 955"/>
                <a:gd name="T8" fmla="*/ 866 w 968"/>
                <a:gd name="T9" fmla="*/ 42 h 955"/>
                <a:gd name="T10" fmla="*/ 906 w 968"/>
                <a:gd name="T11" fmla="*/ 54 h 955"/>
                <a:gd name="T12" fmla="*/ 932 w 968"/>
                <a:gd name="T13" fmla="*/ 62 h 955"/>
                <a:gd name="T14" fmla="*/ 942 w 968"/>
                <a:gd name="T15" fmla="*/ 65 h 955"/>
                <a:gd name="T16" fmla="*/ 965 w 968"/>
                <a:gd name="T17" fmla="*/ 244 h 955"/>
                <a:gd name="T18" fmla="*/ 966 w 968"/>
                <a:gd name="T19" fmla="*/ 399 h 955"/>
                <a:gd name="T20" fmla="*/ 949 w 968"/>
                <a:gd name="T21" fmla="*/ 530 h 955"/>
                <a:gd name="T22" fmla="*/ 914 w 968"/>
                <a:gd name="T23" fmla="*/ 639 h 955"/>
                <a:gd name="T24" fmla="*/ 867 w 968"/>
                <a:gd name="T25" fmla="*/ 728 h 955"/>
                <a:gd name="T26" fmla="*/ 807 w 968"/>
                <a:gd name="T27" fmla="*/ 800 h 955"/>
                <a:gd name="T28" fmla="*/ 737 w 968"/>
                <a:gd name="T29" fmla="*/ 855 h 955"/>
                <a:gd name="T30" fmla="*/ 660 w 968"/>
                <a:gd name="T31" fmla="*/ 898 h 955"/>
                <a:gd name="T32" fmla="*/ 581 w 968"/>
                <a:gd name="T33" fmla="*/ 927 h 955"/>
                <a:gd name="T34" fmla="*/ 496 w 968"/>
                <a:gd name="T35" fmla="*/ 945 h 955"/>
                <a:gd name="T36" fmla="*/ 413 w 968"/>
                <a:gd name="T37" fmla="*/ 953 h 955"/>
                <a:gd name="T38" fmla="*/ 332 w 968"/>
                <a:gd name="T39" fmla="*/ 955 h 955"/>
                <a:gd name="T40" fmla="*/ 254 w 968"/>
                <a:gd name="T41" fmla="*/ 952 h 955"/>
                <a:gd name="T42" fmla="*/ 185 w 968"/>
                <a:gd name="T43" fmla="*/ 943 h 955"/>
                <a:gd name="T44" fmla="*/ 123 w 968"/>
                <a:gd name="T45" fmla="*/ 935 h 955"/>
                <a:gd name="T46" fmla="*/ 74 w 968"/>
                <a:gd name="T47" fmla="*/ 925 h 955"/>
                <a:gd name="T48" fmla="*/ 40 w 968"/>
                <a:gd name="T49" fmla="*/ 917 h 955"/>
                <a:gd name="T50" fmla="*/ 21 w 968"/>
                <a:gd name="T51" fmla="*/ 912 h 955"/>
                <a:gd name="T52" fmla="*/ 8 w 968"/>
                <a:gd name="T53" fmla="*/ 813 h 955"/>
                <a:gd name="T54" fmla="*/ 0 w 968"/>
                <a:gd name="T55" fmla="*/ 637 h 955"/>
                <a:gd name="T56" fmla="*/ 11 w 968"/>
                <a:gd name="T57" fmla="*/ 487 h 955"/>
                <a:gd name="T58" fmla="*/ 39 w 968"/>
                <a:gd name="T59" fmla="*/ 362 h 955"/>
                <a:gd name="T60" fmla="*/ 81 w 968"/>
                <a:gd name="T61" fmla="*/ 259 h 955"/>
                <a:gd name="T62" fmla="*/ 136 w 968"/>
                <a:gd name="T63" fmla="*/ 178 h 955"/>
                <a:gd name="T64" fmla="*/ 201 w 968"/>
                <a:gd name="T65" fmla="*/ 112 h 955"/>
                <a:gd name="T66" fmla="*/ 273 w 968"/>
                <a:gd name="T67" fmla="*/ 65 h 955"/>
                <a:gd name="T68" fmla="*/ 351 w 968"/>
                <a:gd name="T69" fmla="*/ 32 h 955"/>
                <a:gd name="T70" fmla="*/ 434 w 968"/>
                <a:gd name="T71" fmla="*/ 13 h 955"/>
                <a:gd name="T72" fmla="*/ 516 w 968"/>
                <a:gd name="T73" fmla="*/ 2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68" h="955">
                  <a:moveTo>
                    <a:pt x="556" y="0"/>
                  </a:moveTo>
                  <a:lnTo>
                    <a:pt x="597" y="2"/>
                  </a:lnTo>
                  <a:lnTo>
                    <a:pt x="638" y="3"/>
                  </a:lnTo>
                  <a:lnTo>
                    <a:pt x="675" y="6"/>
                  </a:lnTo>
                  <a:lnTo>
                    <a:pt x="713" y="11"/>
                  </a:lnTo>
                  <a:lnTo>
                    <a:pt x="747" y="16"/>
                  </a:lnTo>
                  <a:lnTo>
                    <a:pt x="781" y="23"/>
                  </a:lnTo>
                  <a:lnTo>
                    <a:pt x="812" y="29"/>
                  </a:lnTo>
                  <a:lnTo>
                    <a:pt x="839" y="36"/>
                  </a:lnTo>
                  <a:lnTo>
                    <a:pt x="866" y="42"/>
                  </a:lnTo>
                  <a:lnTo>
                    <a:pt x="887" y="49"/>
                  </a:lnTo>
                  <a:lnTo>
                    <a:pt x="906" y="54"/>
                  </a:lnTo>
                  <a:lnTo>
                    <a:pt x="921" y="59"/>
                  </a:lnTo>
                  <a:lnTo>
                    <a:pt x="932" y="62"/>
                  </a:lnTo>
                  <a:lnTo>
                    <a:pt x="939" y="65"/>
                  </a:lnTo>
                  <a:lnTo>
                    <a:pt x="942" y="65"/>
                  </a:lnTo>
                  <a:lnTo>
                    <a:pt x="957" y="158"/>
                  </a:lnTo>
                  <a:lnTo>
                    <a:pt x="965" y="244"/>
                  </a:lnTo>
                  <a:lnTo>
                    <a:pt x="968" y="324"/>
                  </a:lnTo>
                  <a:lnTo>
                    <a:pt x="966" y="399"/>
                  </a:lnTo>
                  <a:lnTo>
                    <a:pt x="960" y="466"/>
                  </a:lnTo>
                  <a:lnTo>
                    <a:pt x="949" y="530"/>
                  </a:lnTo>
                  <a:lnTo>
                    <a:pt x="934" y="587"/>
                  </a:lnTo>
                  <a:lnTo>
                    <a:pt x="914" y="639"/>
                  </a:lnTo>
                  <a:lnTo>
                    <a:pt x="892" y="686"/>
                  </a:lnTo>
                  <a:lnTo>
                    <a:pt x="867" y="728"/>
                  </a:lnTo>
                  <a:lnTo>
                    <a:pt x="838" y="766"/>
                  </a:lnTo>
                  <a:lnTo>
                    <a:pt x="807" y="800"/>
                  </a:lnTo>
                  <a:lnTo>
                    <a:pt x="773" y="829"/>
                  </a:lnTo>
                  <a:lnTo>
                    <a:pt x="737" y="855"/>
                  </a:lnTo>
                  <a:lnTo>
                    <a:pt x="699" y="878"/>
                  </a:lnTo>
                  <a:lnTo>
                    <a:pt x="660" y="898"/>
                  </a:lnTo>
                  <a:lnTo>
                    <a:pt x="621" y="914"/>
                  </a:lnTo>
                  <a:lnTo>
                    <a:pt x="581" y="927"/>
                  </a:lnTo>
                  <a:lnTo>
                    <a:pt x="538" y="937"/>
                  </a:lnTo>
                  <a:lnTo>
                    <a:pt x="496" y="945"/>
                  </a:lnTo>
                  <a:lnTo>
                    <a:pt x="454" y="950"/>
                  </a:lnTo>
                  <a:lnTo>
                    <a:pt x="413" y="953"/>
                  </a:lnTo>
                  <a:lnTo>
                    <a:pt x="371" y="955"/>
                  </a:lnTo>
                  <a:lnTo>
                    <a:pt x="332" y="955"/>
                  </a:lnTo>
                  <a:lnTo>
                    <a:pt x="293" y="955"/>
                  </a:lnTo>
                  <a:lnTo>
                    <a:pt x="254" y="952"/>
                  </a:lnTo>
                  <a:lnTo>
                    <a:pt x="218" y="948"/>
                  </a:lnTo>
                  <a:lnTo>
                    <a:pt x="185" y="943"/>
                  </a:lnTo>
                  <a:lnTo>
                    <a:pt x="153" y="940"/>
                  </a:lnTo>
                  <a:lnTo>
                    <a:pt x="123" y="935"/>
                  </a:lnTo>
                  <a:lnTo>
                    <a:pt x="97" y="930"/>
                  </a:lnTo>
                  <a:lnTo>
                    <a:pt x="74" y="925"/>
                  </a:lnTo>
                  <a:lnTo>
                    <a:pt x="55" y="921"/>
                  </a:lnTo>
                  <a:lnTo>
                    <a:pt x="40" y="917"/>
                  </a:lnTo>
                  <a:lnTo>
                    <a:pt x="29" y="914"/>
                  </a:lnTo>
                  <a:lnTo>
                    <a:pt x="21" y="912"/>
                  </a:lnTo>
                  <a:lnTo>
                    <a:pt x="19" y="911"/>
                  </a:lnTo>
                  <a:lnTo>
                    <a:pt x="8" y="813"/>
                  </a:lnTo>
                  <a:lnTo>
                    <a:pt x="1" y="722"/>
                  </a:lnTo>
                  <a:lnTo>
                    <a:pt x="0" y="637"/>
                  </a:lnTo>
                  <a:lnTo>
                    <a:pt x="3" y="559"/>
                  </a:lnTo>
                  <a:lnTo>
                    <a:pt x="11" y="487"/>
                  </a:lnTo>
                  <a:lnTo>
                    <a:pt x="22" y="422"/>
                  </a:lnTo>
                  <a:lnTo>
                    <a:pt x="39" y="362"/>
                  </a:lnTo>
                  <a:lnTo>
                    <a:pt x="58" y="308"/>
                  </a:lnTo>
                  <a:lnTo>
                    <a:pt x="81" y="259"/>
                  </a:lnTo>
                  <a:lnTo>
                    <a:pt x="107" y="215"/>
                  </a:lnTo>
                  <a:lnTo>
                    <a:pt x="136" y="178"/>
                  </a:lnTo>
                  <a:lnTo>
                    <a:pt x="167" y="143"/>
                  </a:lnTo>
                  <a:lnTo>
                    <a:pt x="201" y="112"/>
                  </a:lnTo>
                  <a:lnTo>
                    <a:pt x="236" y="88"/>
                  </a:lnTo>
                  <a:lnTo>
                    <a:pt x="273" y="65"/>
                  </a:lnTo>
                  <a:lnTo>
                    <a:pt x="312" y="47"/>
                  </a:lnTo>
                  <a:lnTo>
                    <a:pt x="351" y="32"/>
                  </a:lnTo>
                  <a:lnTo>
                    <a:pt x="392" y="21"/>
                  </a:lnTo>
                  <a:lnTo>
                    <a:pt x="434" y="13"/>
                  </a:lnTo>
                  <a:lnTo>
                    <a:pt x="475" y="6"/>
                  </a:lnTo>
                  <a:lnTo>
                    <a:pt x="516" y="2"/>
                  </a:lnTo>
                  <a:lnTo>
                    <a:pt x="556" y="0"/>
                  </a:lnTo>
                  <a:close/>
                </a:path>
              </a:pathLst>
            </a:custGeom>
            <a:solidFill>
              <a:srgbClr val="CA245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6" name="Freeform 33"/>
            <p:cNvSpPr>
              <a:spLocks/>
            </p:cNvSpPr>
            <p:nvPr/>
          </p:nvSpPr>
          <p:spPr bwMode="auto">
            <a:xfrm>
              <a:off x="6378667" y="1814915"/>
              <a:ext cx="647736" cy="264169"/>
            </a:xfrm>
            <a:custGeom>
              <a:avLst/>
              <a:gdLst>
                <a:gd name="T0" fmla="*/ 0 w 869"/>
                <a:gd name="T1" fmla="*/ 0 h 354"/>
                <a:gd name="T2" fmla="*/ 26 w 869"/>
                <a:gd name="T3" fmla="*/ 13 h 354"/>
                <a:gd name="T4" fmla="*/ 60 w 869"/>
                <a:gd name="T5" fmla="*/ 28 h 354"/>
                <a:gd name="T6" fmla="*/ 99 w 869"/>
                <a:gd name="T7" fmla="*/ 44 h 354"/>
                <a:gd name="T8" fmla="*/ 144 w 869"/>
                <a:gd name="T9" fmla="*/ 62 h 354"/>
                <a:gd name="T10" fmla="*/ 195 w 869"/>
                <a:gd name="T11" fmla="*/ 82 h 354"/>
                <a:gd name="T12" fmla="*/ 250 w 869"/>
                <a:gd name="T13" fmla="*/ 100 h 354"/>
                <a:gd name="T14" fmla="*/ 309 w 869"/>
                <a:gd name="T15" fmla="*/ 118 h 354"/>
                <a:gd name="T16" fmla="*/ 369 w 869"/>
                <a:gd name="T17" fmla="*/ 134 h 354"/>
                <a:gd name="T18" fmla="*/ 433 w 869"/>
                <a:gd name="T19" fmla="*/ 147 h 354"/>
                <a:gd name="T20" fmla="*/ 496 w 869"/>
                <a:gd name="T21" fmla="*/ 158 h 354"/>
                <a:gd name="T22" fmla="*/ 561 w 869"/>
                <a:gd name="T23" fmla="*/ 165 h 354"/>
                <a:gd name="T24" fmla="*/ 626 w 869"/>
                <a:gd name="T25" fmla="*/ 168 h 354"/>
                <a:gd name="T26" fmla="*/ 690 w 869"/>
                <a:gd name="T27" fmla="*/ 166 h 354"/>
                <a:gd name="T28" fmla="*/ 752 w 869"/>
                <a:gd name="T29" fmla="*/ 158 h 354"/>
                <a:gd name="T30" fmla="*/ 812 w 869"/>
                <a:gd name="T31" fmla="*/ 145 h 354"/>
                <a:gd name="T32" fmla="*/ 869 w 869"/>
                <a:gd name="T33" fmla="*/ 124 h 354"/>
                <a:gd name="T34" fmla="*/ 831 w 869"/>
                <a:gd name="T35" fmla="*/ 173 h 354"/>
                <a:gd name="T36" fmla="*/ 791 w 869"/>
                <a:gd name="T37" fmla="*/ 215 h 354"/>
                <a:gd name="T38" fmla="*/ 745 w 869"/>
                <a:gd name="T39" fmla="*/ 250 h 354"/>
                <a:gd name="T40" fmla="*/ 696 w 869"/>
                <a:gd name="T41" fmla="*/ 279 h 354"/>
                <a:gd name="T42" fmla="*/ 646 w 869"/>
                <a:gd name="T43" fmla="*/ 303 h 354"/>
                <a:gd name="T44" fmla="*/ 594 w 869"/>
                <a:gd name="T45" fmla="*/ 321 h 354"/>
                <a:gd name="T46" fmla="*/ 540 w 869"/>
                <a:gd name="T47" fmla="*/ 336 h 354"/>
                <a:gd name="T48" fmla="*/ 486 w 869"/>
                <a:gd name="T49" fmla="*/ 346 h 354"/>
                <a:gd name="T50" fmla="*/ 433 w 869"/>
                <a:gd name="T51" fmla="*/ 351 h 354"/>
                <a:gd name="T52" fmla="*/ 379 w 869"/>
                <a:gd name="T53" fmla="*/ 354 h 354"/>
                <a:gd name="T54" fmla="*/ 327 w 869"/>
                <a:gd name="T55" fmla="*/ 354 h 354"/>
                <a:gd name="T56" fmla="*/ 276 w 869"/>
                <a:gd name="T57" fmla="*/ 352 h 354"/>
                <a:gd name="T58" fmla="*/ 229 w 869"/>
                <a:gd name="T59" fmla="*/ 349 h 354"/>
                <a:gd name="T60" fmla="*/ 185 w 869"/>
                <a:gd name="T61" fmla="*/ 344 h 354"/>
                <a:gd name="T62" fmla="*/ 144 w 869"/>
                <a:gd name="T63" fmla="*/ 338 h 354"/>
                <a:gd name="T64" fmla="*/ 109 w 869"/>
                <a:gd name="T65" fmla="*/ 331 h 354"/>
                <a:gd name="T66" fmla="*/ 78 w 869"/>
                <a:gd name="T67" fmla="*/ 324 h 354"/>
                <a:gd name="T68" fmla="*/ 53 w 869"/>
                <a:gd name="T69" fmla="*/ 320 h 354"/>
                <a:gd name="T70" fmla="*/ 34 w 869"/>
                <a:gd name="T71" fmla="*/ 315 h 354"/>
                <a:gd name="T72" fmla="*/ 22 w 869"/>
                <a:gd name="T73" fmla="*/ 311 h 354"/>
                <a:gd name="T74" fmla="*/ 19 w 869"/>
                <a:gd name="T75" fmla="*/ 310 h 354"/>
                <a:gd name="T76" fmla="*/ 8 w 869"/>
                <a:gd name="T77" fmla="*/ 225 h 354"/>
                <a:gd name="T78" fmla="*/ 1 w 869"/>
                <a:gd name="T79" fmla="*/ 145 h 354"/>
                <a:gd name="T80" fmla="*/ 0 w 869"/>
                <a:gd name="T81" fmla="*/ 70 h 354"/>
                <a:gd name="T82" fmla="*/ 0 w 869"/>
                <a:gd name="T83" fmla="*/ 0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69" h="354">
                  <a:moveTo>
                    <a:pt x="0" y="0"/>
                  </a:moveTo>
                  <a:lnTo>
                    <a:pt x="26" y="13"/>
                  </a:lnTo>
                  <a:lnTo>
                    <a:pt x="60" y="28"/>
                  </a:lnTo>
                  <a:lnTo>
                    <a:pt x="99" y="44"/>
                  </a:lnTo>
                  <a:lnTo>
                    <a:pt x="144" y="62"/>
                  </a:lnTo>
                  <a:lnTo>
                    <a:pt x="195" y="82"/>
                  </a:lnTo>
                  <a:lnTo>
                    <a:pt x="250" y="100"/>
                  </a:lnTo>
                  <a:lnTo>
                    <a:pt x="309" y="118"/>
                  </a:lnTo>
                  <a:lnTo>
                    <a:pt x="369" y="134"/>
                  </a:lnTo>
                  <a:lnTo>
                    <a:pt x="433" y="147"/>
                  </a:lnTo>
                  <a:lnTo>
                    <a:pt x="496" y="158"/>
                  </a:lnTo>
                  <a:lnTo>
                    <a:pt x="561" y="165"/>
                  </a:lnTo>
                  <a:lnTo>
                    <a:pt x="626" y="168"/>
                  </a:lnTo>
                  <a:lnTo>
                    <a:pt x="690" y="166"/>
                  </a:lnTo>
                  <a:lnTo>
                    <a:pt x="752" y="158"/>
                  </a:lnTo>
                  <a:lnTo>
                    <a:pt x="812" y="145"/>
                  </a:lnTo>
                  <a:lnTo>
                    <a:pt x="869" y="124"/>
                  </a:lnTo>
                  <a:lnTo>
                    <a:pt x="831" y="173"/>
                  </a:lnTo>
                  <a:lnTo>
                    <a:pt x="791" y="215"/>
                  </a:lnTo>
                  <a:lnTo>
                    <a:pt x="745" y="250"/>
                  </a:lnTo>
                  <a:lnTo>
                    <a:pt x="696" y="279"/>
                  </a:lnTo>
                  <a:lnTo>
                    <a:pt x="646" y="303"/>
                  </a:lnTo>
                  <a:lnTo>
                    <a:pt x="594" y="321"/>
                  </a:lnTo>
                  <a:lnTo>
                    <a:pt x="540" y="336"/>
                  </a:lnTo>
                  <a:lnTo>
                    <a:pt x="486" y="346"/>
                  </a:lnTo>
                  <a:lnTo>
                    <a:pt x="433" y="351"/>
                  </a:lnTo>
                  <a:lnTo>
                    <a:pt x="379" y="354"/>
                  </a:lnTo>
                  <a:lnTo>
                    <a:pt x="327" y="354"/>
                  </a:lnTo>
                  <a:lnTo>
                    <a:pt x="276" y="352"/>
                  </a:lnTo>
                  <a:lnTo>
                    <a:pt x="229" y="349"/>
                  </a:lnTo>
                  <a:lnTo>
                    <a:pt x="185" y="344"/>
                  </a:lnTo>
                  <a:lnTo>
                    <a:pt x="144" y="338"/>
                  </a:lnTo>
                  <a:lnTo>
                    <a:pt x="109" y="331"/>
                  </a:lnTo>
                  <a:lnTo>
                    <a:pt x="78" y="324"/>
                  </a:lnTo>
                  <a:lnTo>
                    <a:pt x="53" y="320"/>
                  </a:lnTo>
                  <a:lnTo>
                    <a:pt x="34" y="315"/>
                  </a:lnTo>
                  <a:lnTo>
                    <a:pt x="22" y="311"/>
                  </a:lnTo>
                  <a:lnTo>
                    <a:pt x="19" y="310"/>
                  </a:lnTo>
                  <a:lnTo>
                    <a:pt x="8" y="225"/>
                  </a:lnTo>
                  <a:lnTo>
                    <a:pt x="1" y="145"/>
                  </a:lnTo>
                  <a:lnTo>
                    <a:pt x="0" y="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>
                <a:alpha val="20000"/>
              </a:sys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67" name="Group 17"/>
          <p:cNvGrpSpPr/>
          <p:nvPr/>
        </p:nvGrpSpPr>
        <p:grpSpPr>
          <a:xfrm>
            <a:off x="4665030" y="3905586"/>
            <a:ext cx="4451076" cy="1871345"/>
            <a:chOff x="2695575" y="4002088"/>
            <a:chExt cx="6792913" cy="2855912"/>
          </a:xfrm>
        </p:grpSpPr>
        <p:sp>
          <p:nvSpPr>
            <p:cNvPr id="168" name="Freeform 6"/>
            <p:cNvSpPr>
              <a:spLocks/>
            </p:cNvSpPr>
            <p:nvPr/>
          </p:nvSpPr>
          <p:spPr bwMode="auto">
            <a:xfrm>
              <a:off x="6953250" y="4281488"/>
              <a:ext cx="1833563" cy="1755775"/>
            </a:xfrm>
            <a:custGeom>
              <a:avLst/>
              <a:gdLst>
                <a:gd name="T0" fmla="*/ 1153 w 1155"/>
                <a:gd name="T1" fmla="*/ 3 h 1106"/>
                <a:gd name="T2" fmla="*/ 1143 w 1155"/>
                <a:gd name="T3" fmla="*/ 29 h 1106"/>
                <a:gd name="T4" fmla="*/ 1124 w 1155"/>
                <a:gd name="T5" fmla="*/ 74 h 1106"/>
                <a:gd name="T6" fmla="*/ 1098 w 1155"/>
                <a:gd name="T7" fmla="*/ 136 h 1106"/>
                <a:gd name="T8" fmla="*/ 1067 w 1155"/>
                <a:gd name="T9" fmla="*/ 210 h 1106"/>
                <a:gd name="T10" fmla="*/ 1031 w 1155"/>
                <a:gd name="T11" fmla="*/ 291 h 1106"/>
                <a:gd name="T12" fmla="*/ 996 w 1155"/>
                <a:gd name="T13" fmla="*/ 374 h 1106"/>
                <a:gd name="T14" fmla="*/ 961 w 1155"/>
                <a:gd name="T15" fmla="*/ 455 h 1106"/>
                <a:gd name="T16" fmla="*/ 928 w 1155"/>
                <a:gd name="T17" fmla="*/ 530 h 1106"/>
                <a:gd name="T18" fmla="*/ 899 w 1155"/>
                <a:gd name="T19" fmla="*/ 595 h 1106"/>
                <a:gd name="T20" fmla="*/ 877 w 1155"/>
                <a:gd name="T21" fmla="*/ 644 h 1106"/>
                <a:gd name="T22" fmla="*/ 859 w 1155"/>
                <a:gd name="T23" fmla="*/ 686 h 1106"/>
                <a:gd name="T24" fmla="*/ 838 w 1155"/>
                <a:gd name="T25" fmla="*/ 739 h 1106"/>
                <a:gd name="T26" fmla="*/ 817 w 1155"/>
                <a:gd name="T27" fmla="*/ 795 h 1106"/>
                <a:gd name="T28" fmla="*/ 791 w 1155"/>
                <a:gd name="T29" fmla="*/ 851 h 1106"/>
                <a:gd name="T30" fmla="*/ 758 w 1155"/>
                <a:gd name="T31" fmla="*/ 901 h 1106"/>
                <a:gd name="T32" fmla="*/ 715 w 1155"/>
                <a:gd name="T33" fmla="*/ 944 h 1106"/>
                <a:gd name="T34" fmla="*/ 656 w 1155"/>
                <a:gd name="T35" fmla="*/ 975 h 1106"/>
                <a:gd name="T36" fmla="*/ 485 w 1155"/>
                <a:gd name="T37" fmla="*/ 1014 h 1106"/>
                <a:gd name="T38" fmla="*/ 194 w 1155"/>
                <a:gd name="T39" fmla="*/ 1075 h 1106"/>
                <a:gd name="T40" fmla="*/ 22 w 1155"/>
                <a:gd name="T41" fmla="*/ 1106 h 1106"/>
                <a:gd name="T42" fmla="*/ 2 w 1155"/>
                <a:gd name="T43" fmla="*/ 1097 h 1106"/>
                <a:gd name="T44" fmla="*/ 1 w 1155"/>
                <a:gd name="T45" fmla="*/ 1076 h 1106"/>
                <a:gd name="T46" fmla="*/ 18 w 1155"/>
                <a:gd name="T47" fmla="*/ 1042 h 1106"/>
                <a:gd name="T48" fmla="*/ 48 w 1155"/>
                <a:gd name="T49" fmla="*/ 1001 h 1106"/>
                <a:gd name="T50" fmla="*/ 88 w 1155"/>
                <a:gd name="T51" fmla="*/ 952 h 1106"/>
                <a:gd name="T52" fmla="*/ 137 w 1155"/>
                <a:gd name="T53" fmla="*/ 898 h 1106"/>
                <a:gd name="T54" fmla="*/ 192 w 1155"/>
                <a:gd name="T55" fmla="*/ 841 h 1106"/>
                <a:gd name="T56" fmla="*/ 250 w 1155"/>
                <a:gd name="T57" fmla="*/ 784 h 1106"/>
                <a:gd name="T58" fmla="*/ 307 w 1155"/>
                <a:gd name="T59" fmla="*/ 730 h 1106"/>
                <a:gd name="T60" fmla="*/ 363 w 1155"/>
                <a:gd name="T61" fmla="*/ 678 h 1106"/>
                <a:gd name="T62" fmla="*/ 412 w 1155"/>
                <a:gd name="T63" fmla="*/ 633 h 1106"/>
                <a:gd name="T64" fmla="*/ 454 w 1155"/>
                <a:gd name="T65" fmla="*/ 595 h 1106"/>
                <a:gd name="T66" fmla="*/ 484 w 1155"/>
                <a:gd name="T67" fmla="*/ 568 h 1106"/>
                <a:gd name="T68" fmla="*/ 499 w 1155"/>
                <a:gd name="T69" fmla="*/ 554 h 1106"/>
                <a:gd name="T70" fmla="*/ 523 w 1155"/>
                <a:gd name="T71" fmla="*/ 547 h 1106"/>
                <a:gd name="T72" fmla="*/ 534 w 1155"/>
                <a:gd name="T73" fmla="*/ 541 h 1106"/>
                <a:gd name="T74" fmla="*/ 564 w 1155"/>
                <a:gd name="T75" fmla="*/ 523 h 1106"/>
                <a:gd name="T76" fmla="*/ 607 w 1155"/>
                <a:gd name="T77" fmla="*/ 497 h 1106"/>
                <a:gd name="T78" fmla="*/ 659 w 1155"/>
                <a:gd name="T79" fmla="*/ 463 h 1106"/>
                <a:gd name="T80" fmla="*/ 711 w 1155"/>
                <a:gd name="T81" fmla="*/ 427 h 1106"/>
                <a:gd name="T82" fmla="*/ 760 w 1155"/>
                <a:gd name="T83" fmla="*/ 389 h 1106"/>
                <a:gd name="T84" fmla="*/ 799 w 1155"/>
                <a:gd name="T85" fmla="*/ 352 h 1106"/>
                <a:gd name="T86" fmla="*/ 828 w 1155"/>
                <a:gd name="T87" fmla="*/ 314 h 1106"/>
                <a:gd name="T88" fmla="*/ 860 w 1155"/>
                <a:gd name="T89" fmla="*/ 261 h 1106"/>
                <a:gd name="T90" fmla="*/ 899 w 1155"/>
                <a:gd name="T91" fmla="*/ 197 h 1106"/>
                <a:gd name="T92" fmla="*/ 945 w 1155"/>
                <a:gd name="T93" fmla="*/ 132 h 1106"/>
                <a:gd name="T94" fmla="*/ 996 w 1155"/>
                <a:gd name="T95" fmla="*/ 74 h 1106"/>
                <a:gd name="T96" fmla="*/ 1055 w 1155"/>
                <a:gd name="T97" fmla="*/ 27 h 1106"/>
                <a:gd name="T98" fmla="*/ 1120 w 1155"/>
                <a:gd name="T99" fmla="*/ 3 h 1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55" h="1106">
                  <a:moveTo>
                    <a:pt x="1155" y="0"/>
                  </a:moveTo>
                  <a:lnTo>
                    <a:pt x="1153" y="3"/>
                  </a:lnTo>
                  <a:lnTo>
                    <a:pt x="1150" y="13"/>
                  </a:lnTo>
                  <a:lnTo>
                    <a:pt x="1143" y="29"/>
                  </a:lnTo>
                  <a:lnTo>
                    <a:pt x="1134" y="50"/>
                  </a:lnTo>
                  <a:lnTo>
                    <a:pt x="1124" y="74"/>
                  </a:lnTo>
                  <a:lnTo>
                    <a:pt x="1111" y="104"/>
                  </a:lnTo>
                  <a:lnTo>
                    <a:pt x="1098" y="136"/>
                  </a:lnTo>
                  <a:lnTo>
                    <a:pt x="1082" y="171"/>
                  </a:lnTo>
                  <a:lnTo>
                    <a:pt x="1067" y="210"/>
                  </a:lnTo>
                  <a:lnTo>
                    <a:pt x="1050" y="249"/>
                  </a:lnTo>
                  <a:lnTo>
                    <a:pt x="1031" y="291"/>
                  </a:lnTo>
                  <a:lnTo>
                    <a:pt x="1013" y="332"/>
                  </a:lnTo>
                  <a:lnTo>
                    <a:pt x="996" y="374"/>
                  </a:lnTo>
                  <a:lnTo>
                    <a:pt x="978" y="415"/>
                  </a:lnTo>
                  <a:lnTo>
                    <a:pt x="961" y="455"/>
                  </a:lnTo>
                  <a:lnTo>
                    <a:pt x="945" y="494"/>
                  </a:lnTo>
                  <a:lnTo>
                    <a:pt x="928" y="530"/>
                  </a:lnTo>
                  <a:lnTo>
                    <a:pt x="913" y="564"/>
                  </a:lnTo>
                  <a:lnTo>
                    <a:pt x="899" y="595"/>
                  </a:lnTo>
                  <a:lnTo>
                    <a:pt x="887" y="621"/>
                  </a:lnTo>
                  <a:lnTo>
                    <a:pt x="877" y="644"/>
                  </a:lnTo>
                  <a:lnTo>
                    <a:pt x="869" y="661"/>
                  </a:lnTo>
                  <a:lnTo>
                    <a:pt x="859" y="686"/>
                  </a:lnTo>
                  <a:lnTo>
                    <a:pt x="848" y="712"/>
                  </a:lnTo>
                  <a:lnTo>
                    <a:pt x="838" y="739"/>
                  </a:lnTo>
                  <a:lnTo>
                    <a:pt x="828" y="766"/>
                  </a:lnTo>
                  <a:lnTo>
                    <a:pt x="817" y="795"/>
                  </a:lnTo>
                  <a:lnTo>
                    <a:pt x="804" y="822"/>
                  </a:lnTo>
                  <a:lnTo>
                    <a:pt x="791" y="851"/>
                  </a:lnTo>
                  <a:lnTo>
                    <a:pt x="776" y="876"/>
                  </a:lnTo>
                  <a:lnTo>
                    <a:pt x="758" y="901"/>
                  </a:lnTo>
                  <a:lnTo>
                    <a:pt x="738" y="924"/>
                  </a:lnTo>
                  <a:lnTo>
                    <a:pt x="715" y="944"/>
                  </a:lnTo>
                  <a:lnTo>
                    <a:pt x="688" y="962"/>
                  </a:lnTo>
                  <a:lnTo>
                    <a:pt x="656" y="975"/>
                  </a:lnTo>
                  <a:lnTo>
                    <a:pt x="621" y="985"/>
                  </a:lnTo>
                  <a:lnTo>
                    <a:pt x="485" y="1014"/>
                  </a:lnTo>
                  <a:lnTo>
                    <a:pt x="342" y="1045"/>
                  </a:lnTo>
                  <a:lnTo>
                    <a:pt x="194" y="1075"/>
                  </a:lnTo>
                  <a:lnTo>
                    <a:pt x="40" y="1103"/>
                  </a:lnTo>
                  <a:lnTo>
                    <a:pt x="22" y="1106"/>
                  </a:lnTo>
                  <a:lnTo>
                    <a:pt x="9" y="1103"/>
                  </a:lnTo>
                  <a:lnTo>
                    <a:pt x="2" y="1097"/>
                  </a:lnTo>
                  <a:lnTo>
                    <a:pt x="0" y="1088"/>
                  </a:lnTo>
                  <a:lnTo>
                    <a:pt x="1" y="1076"/>
                  </a:lnTo>
                  <a:lnTo>
                    <a:pt x="7" y="1060"/>
                  </a:lnTo>
                  <a:lnTo>
                    <a:pt x="18" y="1042"/>
                  </a:lnTo>
                  <a:lnTo>
                    <a:pt x="31" y="1023"/>
                  </a:lnTo>
                  <a:lnTo>
                    <a:pt x="48" y="1001"/>
                  </a:lnTo>
                  <a:lnTo>
                    <a:pt x="66" y="978"/>
                  </a:lnTo>
                  <a:lnTo>
                    <a:pt x="88" y="952"/>
                  </a:lnTo>
                  <a:lnTo>
                    <a:pt x="111" y="926"/>
                  </a:lnTo>
                  <a:lnTo>
                    <a:pt x="137" y="898"/>
                  </a:lnTo>
                  <a:lnTo>
                    <a:pt x="164" y="870"/>
                  </a:lnTo>
                  <a:lnTo>
                    <a:pt x="192" y="841"/>
                  </a:lnTo>
                  <a:lnTo>
                    <a:pt x="222" y="813"/>
                  </a:lnTo>
                  <a:lnTo>
                    <a:pt x="250" y="784"/>
                  </a:lnTo>
                  <a:lnTo>
                    <a:pt x="279" y="757"/>
                  </a:lnTo>
                  <a:lnTo>
                    <a:pt x="307" y="730"/>
                  </a:lnTo>
                  <a:lnTo>
                    <a:pt x="336" y="703"/>
                  </a:lnTo>
                  <a:lnTo>
                    <a:pt x="363" y="678"/>
                  </a:lnTo>
                  <a:lnTo>
                    <a:pt x="388" y="655"/>
                  </a:lnTo>
                  <a:lnTo>
                    <a:pt x="412" y="633"/>
                  </a:lnTo>
                  <a:lnTo>
                    <a:pt x="434" y="613"/>
                  </a:lnTo>
                  <a:lnTo>
                    <a:pt x="454" y="595"/>
                  </a:lnTo>
                  <a:lnTo>
                    <a:pt x="469" y="581"/>
                  </a:lnTo>
                  <a:lnTo>
                    <a:pt x="484" y="568"/>
                  </a:lnTo>
                  <a:lnTo>
                    <a:pt x="494" y="559"/>
                  </a:lnTo>
                  <a:lnTo>
                    <a:pt x="499" y="554"/>
                  </a:lnTo>
                  <a:lnTo>
                    <a:pt x="502" y="552"/>
                  </a:lnTo>
                  <a:lnTo>
                    <a:pt x="523" y="547"/>
                  </a:lnTo>
                  <a:lnTo>
                    <a:pt x="525" y="545"/>
                  </a:lnTo>
                  <a:lnTo>
                    <a:pt x="534" y="541"/>
                  </a:lnTo>
                  <a:lnTo>
                    <a:pt x="547" y="533"/>
                  </a:lnTo>
                  <a:lnTo>
                    <a:pt x="564" y="523"/>
                  </a:lnTo>
                  <a:lnTo>
                    <a:pt x="585" y="511"/>
                  </a:lnTo>
                  <a:lnTo>
                    <a:pt x="607" y="497"/>
                  </a:lnTo>
                  <a:lnTo>
                    <a:pt x="633" y="480"/>
                  </a:lnTo>
                  <a:lnTo>
                    <a:pt x="659" y="463"/>
                  </a:lnTo>
                  <a:lnTo>
                    <a:pt x="685" y="445"/>
                  </a:lnTo>
                  <a:lnTo>
                    <a:pt x="711" y="427"/>
                  </a:lnTo>
                  <a:lnTo>
                    <a:pt x="737" y="407"/>
                  </a:lnTo>
                  <a:lnTo>
                    <a:pt x="760" y="389"/>
                  </a:lnTo>
                  <a:lnTo>
                    <a:pt x="781" y="370"/>
                  </a:lnTo>
                  <a:lnTo>
                    <a:pt x="799" y="352"/>
                  </a:lnTo>
                  <a:lnTo>
                    <a:pt x="813" y="335"/>
                  </a:lnTo>
                  <a:lnTo>
                    <a:pt x="828" y="314"/>
                  </a:lnTo>
                  <a:lnTo>
                    <a:pt x="843" y="289"/>
                  </a:lnTo>
                  <a:lnTo>
                    <a:pt x="860" y="261"/>
                  </a:lnTo>
                  <a:lnTo>
                    <a:pt x="878" y="230"/>
                  </a:lnTo>
                  <a:lnTo>
                    <a:pt x="899" y="197"/>
                  </a:lnTo>
                  <a:lnTo>
                    <a:pt x="921" y="165"/>
                  </a:lnTo>
                  <a:lnTo>
                    <a:pt x="945" y="132"/>
                  </a:lnTo>
                  <a:lnTo>
                    <a:pt x="970" y="103"/>
                  </a:lnTo>
                  <a:lnTo>
                    <a:pt x="996" y="74"/>
                  </a:lnTo>
                  <a:lnTo>
                    <a:pt x="1025" y="48"/>
                  </a:lnTo>
                  <a:lnTo>
                    <a:pt x="1055" y="27"/>
                  </a:lnTo>
                  <a:lnTo>
                    <a:pt x="1087" y="12"/>
                  </a:lnTo>
                  <a:lnTo>
                    <a:pt x="1120" y="3"/>
                  </a:lnTo>
                  <a:lnTo>
                    <a:pt x="1155" y="0"/>
                  </a:lnTo>
                  <a:close/>
                </a:path>
              </a:pathLst>
            </a:custGeom>
            <a:solidFill>
              <a:srgbClr val="DDC9AB">
                <a:lumMod val="75000"/>
                <a:alpha val="63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9" name="Freeform 7"/>
            <p:cNvSpPr>
              <a:spLocks/>
            </p:cNvSpPr>
            <p:nvPr/>
          </p:nvSpPr>
          <p:spPr bwMode="auto">
            <a:xfrm>
              <a:off x="7231063" y="4002088"/>
              <a:ext cx="2205038" cy="1987550"/>
            </a:xfrm>
            <a:custGeom>
              <a:avLst/>
              <a:gdLst>
                <a:gd name="T0" fmla="*/ 1261 w 1389"/>
                <a:gd name="T1" fmla="*/ 1 h 1252"/>
                <a:gd name="T2" fmla="*/ 1312 w 1389"/>
                <a:gd name="T3" fmla="*/ 12 h 1252"/>
                <a:gd name="T4" fmla="*/ 1352 w 1389"/>
                <a:gd name="T5" fmla="*/ 25 h 1252"/>
                <a:gd name="T6" fmla="*/ 1380 w 1389"/>
                <a:gd name="T7" fmla="*/ 36 h 1252"/>
                <a:gd name="T8" fmla="*/ 1389 w 1389"/>
                <a:gd name="T9" fmla="*/ 41 h 1252"/>
                <a:gd name="T10" fmla="*/ 1382 w 1389"/>
                <a:gd name="T11" fmla="*/ 54 h 1252"/>
                <a:gd name="T12" fmla="*/ 1365 w 1389"/>
                <a:gd name="T13" fmla="*/ 88 h 1252"/>
                <a:gd name="T14" fmla="*/ 1339 w 1389"/>
                <a:gd name="T15" fmla="*/ 137 h 1252"/>
                <a:gd name="T16" fmla="*/ 1308 w 1389"/>
                <a:gd name="T17" fmla="*/ 197 h 1252"/>
                <a:gd name="T18" fmla="*/ 1273 w 1389"/>
                <a:gd name="T19" fmla="*/ 259 h 1252"/>
                <a:gd name="T20" fmla="*/ 1237 w 1389"/>
                <a:gd name="T21" fmla="*/ 318 h 1252"/>
                <a:gd name="T22" fmla="*/ 1204 w 1389"/>
                <a:gd name="T23" fmla="*/ 367 h 1252"/>
                <a:gd name="T24" fmla="*/ 1167 w 1389"/>
                <a:gd name="T25" fmla="*/ 429 h 1252"/>
                <a:gd name="T26" fmla="*/ 1119 w 1389"/>
                <a:gd name="T27" fmla="*/ 508 h 1252"/>
                <a:gd name="T28" fmla="*/ 1063 w 1389"/>
                <a:gd name="T29" fmla="*/ 598 h 1252"/>
                <a:gd name="T30" fmla="*/ 1003 w 1389"/>
                <a:gd name="T31" fmla="*/ 691 h 1252"/>
                <a:gd name="T32" fmla="*/ 941 w 1389"/>
                <a:gd name="T33" fmla="*/ 783 h 1252"/>
                <a:gd name="T34" fmla="*/ 880 w 1389"/>
                <a:gd name="T35" fmla="*/ 866 h 1252"/>
                <a:gd name="T36" fmla="*/ 820 w 1389"/>
                <a:gd name="T37" fmla="*/ 933 h 1252"/>
                <a:gd name="T38" fmla="*/ 767 w 1389"/>
                <a:gd name="T39" fmla="*/ 980 h 1252"/>
                <a:gd name="T40" fmla="*/ 718 w 1389"/>
                <a:gd name="T41" fmla="*/ 1007 h 1252"/>
                <a:gd name="T42" fmla="*/ 649 w 1389"/>
                <a:gd name="T43" fmla="*/ 1037 h 1252"/>
                <a:gd name="T44" fmla="*/ 566 w 1389"/>
                <a:gd name="T45" fmla="*/ 1071 h 1252"/>
                <a:gd name="T46" fmla="*/ 474 w 1389"/>
                <a:gd name="T47" fmla="*/ 1103 h 1252"/>
                <a:gd name="T48" fmla="*/ 378 w 1389"/>
                <a:gd name="T49" fmla="*/ 1135 h 1252"/>
                <a:gd name="T50" fmla="*/ 283 w 1389"/>
                <a:gd name="T51" fmla="*/ 1166 h 1252"/>
                <a:gd name="T52" fmla="*/ 195 w 1389"/>
                <a:gd name="T53" fmla="*/ 1194 h 1252"/>
                <a:gd name="T54" fmla="*/ 117 w 1389"/>
                <a:gd name="T55" fmla="*/ 1218 h 1252"/>
                <a:gd name="T56" fmla="*/ 56 w 1389"/>
                <a:gd name="T57" fmla="*/ 1236 h 1252"/>
                <a:gd name="T58" fmla="*/ 14 w 1389"/>
                <a:gd name="T59" fmla="*/ 1248 h 1252"/>
                <a:gd name="T60" fmla="*/ 0 w 1389"/>
                <a:gd name="T61" fmla="*/ 1252 h 1252"/>
                <a:gd name="T62" fmla="*/ 6 w 1389"/>
                <a:gd name="T63" fmla="*/ 1242 h 1252"/>
                <a:gd name="T64" fmla="*/ 23 w 1389"/>
                <a:gd name="T65" fmla="*/ 1209 h 1252"/>
                <a:gd name="T66" fmla="*/ 50 w 1389"/>
                <a:gd name="T67" fmla="*/ 1163 h 1252"/>
                <a:gd name="T68" fmla="*/ 83 w 1389"/>
                <a:gd name="T69" fmla="*/ 1104 h 1252"/>
                <a:gd name="T70" fmla="*/ 121 w 1389"/>
                <a:gd name="T71" fmla="*/ 1038 h 1252"/>
                <a:gd name="T72" fmla="*/ 159 w 1389"/>
                <a:gd name="T73" fmla="*/ 969 h 1252"/>
                <a:gd name="T74" fmla="*/ 198 w 1389"/>
                <a:gd name="T75" fmla="*/ 903 h 1252"/>
                <a:gd name="T76" fmla="*/ 233 w 1389"/>
                <a:gd name="T77" fmla="*/ 844 h 1252"/>
                <a:gd name="T78" fmla="*/ 265 w 1389"/>
                <a:gd name="T79" fmla="*/ 793 h 1252"/>
                <a:gd name="T80" fmla="*/ 288 w 1389"/>
                <a:gd name="T81" fmla="*/ 758 h 1252"/>
                <a:gd name="T82" fmla="*/ 301 w 1389"/>
                <a:gd name="T83" fmla="*/ 743 h 1252"/>
                <a:gd name="T84" fmla="*/ 322 w 1389"/>
                <a:gd name="T85" fmla="*/ 731 h 1252"/>
                <a:gd name="T86" fmla="*/ 363 w 1389"/>
                <a:gd name="T87" fmla="*/ 708 h 1252"/>
                <a:gd name="T88" fmla="*/ 418 w 1389"/>
                <a:gd name="T89" fmla="*/ 678 h 1252"/>
                <a:gd name="T90" fmla="*/ 480 w 1389"/>
                <a:gd name="T91" fmla="*/ 643 h 1252"/>
                <a:gd name="T92" fmla="*/ 545 w 1389"/>
                <a:gd name="T93" fmla="*/ 607 h 1252"/>
                <a:gd name="T94" fmla="*/ 605 w 1389"/>
                <a:gd name="T95" fmla="*/ 572 h 1252"/>
                <a:gd name="T96" fmla="*/ 654 w 1389"/>
                <a:gd name="T97" fmla="*/ 542 h 1252"/>
                <a:gd name="T98" fmla="*/ 686 w 1389"/>
                <a:gd name="T99" fmla="*/ 521 h 1252"/>
                <a:gd name="T100" fmla="*/ 705 w 1389"/>
                <a:gd name="T101" fmla="*/ 503 h 1252"/>
                <a:gd name="T102" fmla="*/ 740 w 1389"/>
                <a:gd name="T103" fmla="*/ 472 h 1252"/>
                <a:gd name="T104" fmla="*/ 790 w 1389"/>
                <a:gd name="T105" fmla="*/ 423 h 1252"/>
                <a:gd name="T106" fmla="*/ 853 w 1389"/>
                <a:gd name="T107" fmla="*/ 354 h 1252"/>
                <a:gd name="T108" fmla="*/ 924 w 1389"/>
                <a:gd name="T109" fmla="*/ 261 h 1252"/>
                <a:gd name="T110" fmla="*/ 1001 w 1389"/>
                <a:gd name="T111" fmla="*/ 143 h 1252"/>
                <a:gd name="T112" fmla="*/ 1054 w 1389"/>
                <a:gd name="T113" fmla="*/ 71 h 1252"/>
                <a:gd name="T114" fmla="*/ 1113 w 1389"/>
                <a:gd name="T115" fmla="*/ 27 h 1252"/>
                <a:gd name="T116" fmla="*/ 1174 w 1389"/>
                <a:gd name="T117" fmla="*/ 5 h 1252"/>
                <a:gd name="T118" fmla="*/ 1233 w 1389"/>
                <a:gd name="T119" fmla="*/ 0 h 1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89" h="1252">
                  <a:moveTo>
                    <a:pt x="1233" y="0"/>
                  </a:moveTo>
                  <a:lnTo>
                    <a:pt x="1261" y="1"/>
                  </a:lnTo>
                  <a:lnTo>
                    <a:pt x="1287" y="5"/>
                  </a:lnTo>
                  <a:lnTo>
                    <a:pt x="1312" y="12"/>
                  </a:lnTo>
                  <a:lnTo>
                    <a:pt x="1334" y="18"/>
                  </a:lnTo>
                  <a:lnTo>
                    <a:pt x="1352" y="25"/>
                  </a:lnTo>
                  <a:lnTo>
                    <a:pt x="1368" y="31"/>
                  </a:lnTo>
                  <a:lnTo>
                    <a:pt x="1380" y="36"/>
                  </a:lnTo>
                  <a:lnTo>
                    <a:pt x="1386" y="40"/>
                  </a:lnTo>
                  <a:lnTo>
                    <a:pt x="1389" y="41"/>
                  </a:lnTo>
                  <a:lnTo>
                    <a:pt x="1387" y="44"/>
                  </a:lnTo>
                  <a:lnTo>
                    <a:pt x="1382" y="54"/>
                  </a:lnTo>
                  <a:lnTo>
                    <a:pt x="1374" y="69"/>
                  </a:lnTo>
                  <a:lnTo>
                    <a:pt x="1365" y="88"/>
                  </a:lnTo>
                  <a:lnTo>
                    <a:pt x="1354" y="111"/>
                  </a:lnTo>
                  <a:lnTo>
                    <a:pt x="1339" y="137"/>
                  </a:lnTo>
                  <a:lnTo>
                    <a:pt x="1324" y="166"/>
                  </a:lnTo>
                  <a:lnTo>
                    <a:pt x="1308" y="197"/>
                  </a:lnTo>
                  <a:lnTo>
                    <a:pt x="1290" y="228"/>
                  </a:lnTo>
                  <a:lnTo>
                    <a:pt x="1273" y="259"/>
                  </a:lnTo>
                  <a:lnTo>
                    <a:pt x="1255" y="289"/>
                  </a:lnTo>
                  <a:lnTo>
                    <a:pt x="1237" y="318"/>
                  </a:lnTo>
                  <a:lnTo>
                    <a:pt x="1220" y="345"/>
                  </a:lnTo>
                  <a:lnTo>
                    <a:pt x="1204" y="367"/>
                  </a:lnTo>
                  <a:lnTo>
                    <a:pt x="1187" y="395"/>
                  </a:lnTo>
                  <a:lnTo>
                    <a:pt x="1167" y="429"/>
                  </a:lnTo>
                  <a:lnTo>
                    <a:pt x="1143" y="467"/>
                  </a:lnTo>
                  <a:lnTo>
                    <a:pt x="1119" y="508"/>
                  </a:lnTo>
                  <a:lnTo>
                    <a:pt x="1091" y="552"/>
                  </a:lnTo>
                  <a:lnTo>
                    <a:pt x="1063" y="598"/>
                  </a:lnTo>
                  <a:lnTo>
                    <a:pt x="1034" y="644"/>
                  </a:lnTo>
                  <a:lnTo>
                    <a:pt x="1003" y="691"/>
                  </a:lnTo>
                  <a:lnTo>
                    <a:pt x="972" y="737"/>
                  </a:lnTo>
                  <a:lnTo>
                    <a:pt x="941" y="783"/>
                  </a:lnTo>
                  <a:lnTo>
                    <a:pt x="910" y="826"/>
                  </a:lnTo>
                  <a:lnTo>
                    <a:pt x="880" y="866"/>
                  </a:lnTo>
                  <a:lnTo>
                    <a:pt x="850" y="901"/>
                  </a:lnTo>
                  <a:lnTo>
                    <a:pt x="820" y="933"/>
                  </a:lnTo>
                  <a:lnTo>
                    <a:pt x="793" y="959"/>
                  </a:lnTo>
                  <a:lnTo>
                    <a:pt x="767" y="980"/>
                  </a:lnTo>
                  <a:lnTo>
                    <a:pt x="745" y="993"/>
                  </a:lnTo>
                  <a:lnTo>
                    <a:pt x="718" y="1007"/>
                  </a:lnTo>
                  <a:lnTo>
                    <a:pt x="685" y="1021"/>
                  </a:lnTo>
                  <a:lnTo>
                    <a:pt x="649" y="1037"/>
                  </a:lnTo>
                  <a:lnTo>
                    <a:pt x="609" y="1054"/>
                  </a:lnTo>
                  <a:lnTo>
                    <a:pt x="566" y="1071"/>
                  </a:lnTo>
                  <a:lnTo>
                    <a:pt x="520" y="1086"/>
                  </a:lnTo>
                  <a:lnTo>
                    <a:pt x="474" y="1103"/>
                  </a:lnTo>
                  <a:lnTo>
                    <a:pt x="426" y="1120"/>
                  </a:lnTo>
                  <a:lnTo>
                    <a:pt x="378" y="1135"/>
                  </a:lnTo>
                  <a:lnTo>
                    <a:pt x="330" y="1151"/>
                  </a:lnTo>
                  <a:lnTo>
                    <a:pt x="283" y="1166"/>
                  </a:lnTo>
                  <a:lnTo>
                    <a:pt x="237" y="1181"/>
                  </a:lnTo>
                  <a:lnTo>
                    <a:pt x="195" y="1194"/>
                  </a:lnTo>
                  <a:lnTo>
                    <a:pt x="154" y="1207"/>
                  </a:lnTo>
                  <a:lnTo>
                    <a:pt x="117" y="1218"/>
                  </a:lnTo>
                  <a:lnTo>
                    <a:pt x="84" y="1227"/>
                  </a:lnTo>
                  <a:lnTo>
                    <a:pt x="56" y="1236"/>
                  </a:lnTo>
                  <a:lnTo>
                    <a:pt x="32" y="1243"/>
                  </a:lnTo>
                  <a:lnTo>
                    <a:pt x="14" y="1248"/>
                  </a:lnTo>
                  <a:lnTo>
                    <a:pt x="4" y="1252"/>
                  </a:lnTo>
                  <a:lnTo>
                    <a:pt x="0" y="1252"/>
                  </a:lnTo>
                  <a:lnTo>
                    <a:pt x="1" y="1249"/>
                  </a:lnTo>
                  <a:lnTo>
                    <a:pt x="6" y="1242"/>
                  </a:lnTo>
                  <a:lnTo>
                    <a:pt x="14" y="1227"/>
                  </a:lnTo>
                  <a:lnTo>
                    <a:pt x="23" y="1209"/>
                  </a:lnTo>
                  <a:lnTo>
                    <a:pt x="36" y="1187"/>
                  </a:lnTo>
                  <a:lnTo>
                    <a:pt x="50" y="1163"/>
                  </a:lnTo>
                  <a:lnTo>
                    <a:pt x="66" y="1134"/>
                  </a:lnTo>
                  <a:lnTo>
                    <a:pt x="83" y="1104"/>
                  </a:lnTo>
                  <a:lnTo>
                    <a:pt x="101" y="1072"/>
                  </a:lnTo>
                  <a:lnTo>
                    <a:pt x="121" y="1038"/>
                  </a:lnTo>
                  <a:lnTo>
                    <a:pt x="140" y="1004"/>
                  </a:lnTo>
                  <a:lnTo>
                    <a:pt x="159" y="969"/>
                  </a:lnTo>
                  <a:lnTo>
                    <a:pt x="179" y="936"/>
                  </a:lnTo>
                  <a:lnTo>
                    <a:pt x="198" y="903"/>
                  </a:lnTo>
                  <a:lnTo>
                    <a:pt x="217" y="872"/>
                  </a:lnTo>
                  <a:lnTo>
                    <a:pt x="233" y="844"/>
                  </a:lnTo>
                  <a:lnTo>
                    <a:pt x="250" y="817"/>
                  </a:lnTo>
                  <a:lnTo>
                    <a:pt x="265" y="793"/>
                  </a:lnTo>
                  <a:lnTo>
                    <a:pt x="278" y="774"/>
                  </a:lnTo>
                  <a:lnTo>
                    <a:pt x="288" y="758"/>
                  </a:lnTo>
                  <a:lnTo>
                    <a:pt x="296" y="748"/>
                  </a:lnTo>
                  <a:lnTo>
                    <a:pt x="301" y="743"/>
                  </a:lnTo>
                  <a:lnTo>
                    <a:pt x="309" y="739"/>
                  </a:lnTo>
                  <a:lnTo>
                    <a:pt x="322" y="731"/>
                  </a:lnTo>
                  <a:lnTo>
                    <a:pt x="340" y="721"/>
                  </a:lnTo>
                  <a:lnTo>
                    <a:pt x="363" y="708"/>
                  </a:lnTo>
                  <a:lnTo>
                    <a:pt x="389" y="693"/>
                  </a:lnTo>
                  <a:lnTo>
                    <a:pt x="418" y="678"/>
                  </a:lnTo>
                  <a:lnTo>
                    <a:pt x="449" y="660"/>
                  </a:lnTo>
                  <a:lnTo>
                    <a:pt x="480" y="643"/>
                  </a:lnTo>
                  <a:lnTo>
                    <a:pt x="513" y="625"/>
                  </a:lnTo>
                  <a:lnTo>
                    <a:pt x="545" y="607"/>
                  </a:lnTo>
                  <a:lnTo>
                    <a:pt x="576" y="588"/>
                  </a:lnTo>
                  <a:lnTo>
                    <a:pt x="605" y="572"/>
                  </a:lnTo>
                  <a:lnTo>
                    <a:pt x="631" y="556"/>
                  </a:lnTo>
                  <a:lnTo>
                    <a:pt x="654" y="542"/>
                  </a:lnTo>
                  <a:lnTo>
                    <a:pt x="672" y="530"/>
                  </a:lnTo>
                  <a:lnTo>
                    <a:pt x="686" y="521"/>
                  </a:lnTo>
                  <a:lnTo>
                    <a:pt x="694" y="513"/>
                  </a:lnTo>
                  <a:lnTo>
                    <a:pt x="705" y="503"/>
                  </a:lnTo>
                  <a:lnTo>
                    <a:pt x="720" y="490"/>
                  </a:lnTo>
                  <a:lnTo>
                    <a:pt x="740" y="472"/>
                  </a:lnTo>
                  <a:lnTo>
                    <a:pt x="763" y="450"/>
                  </a:lnTo>
                  <a:lnTo>
                    <a:pt x="790" y="423"/>
                  </a:lnTo>
                  <a:lnTo>
                    <a:pt x="820" y="391"/>
                  </a:lnTo>
                  <a:lnTo>
                    <a:pt x="853" y="354"/>
                  </a:lnTo>
                  <a:lnTo>
                    <a:pt x="888" y="310"/>
                  </a:lnTo>
                  <a:lnTo>
                    <a:pt x="924" y="261"/>
                  </a:lnTo>
                  <a:lnTo>
                    <a:pt x="962" y="205"/>
                  </a:lnTo>
                  <a:lnTo>
                    <a:pt x="1001" y="143"/>
                  </a:lnTo>
                  <a:lnTo>
                    <a:pt x="1027" y="104"/>
                  </a:lnTo>
                  <a:lnTo>
                    <a:pt x="1054" y="71"/>
                  </a:lnTo>
                  <a:lnTo>
                    <a:pt x="1084" y="47"/>
                  </a:lnTo>
                  <a:lnTo>
                    <a:pt x="1113" y="27"/>
                  </a:lnTo>
                  <a:lnTo>
                    <a:pt x="1143" y="14"/>
                  </a:lnTo>
                  <a:lnTo>
                    <a:pt x="1174" y="5"/>
                  </a:lnTo>
                  <a:lnTo>
                    <a:pt x="1204" y="1"/>
                  </a:lnTo>
                  <a:lnTo>
                    <a:pt x="1233" y="0"/>
                  </a:lnTo>
                  <a:close/>
                </a:path>
              </a:pathLst>
            </a:custGeom>
            <a:solidFill>
              <a:srgbClr val="DDC9A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0" name="Freeform 8"/>
            <p:cNvSpPr>
              <a:spLocks/>
            </p:cNvSpPr>
            <p:nvPr/>
          </p:nvSpPr>
          <p:spPr bwMode="auto">
            <a:xfrm>
              <a:off x="9221788" y="4067175"/>
              <a:ext cx="214313" cy="365125"/>
            </a:xfrm>
            <a:custGeom>
              <a:avLst/>
              <a:gdLst>
                <a:gd name="T0" fmla="*/ 135 w 135"/>
                <a:gd name="T1" fmla="*/ 0 h 230"/>
                <a:gd name="T2" fmla="*/ 11 w 135"/>
                <a:gd name="T3" fmla="*/ 230 h 230"/>
                <a:gd name="T4" fmla="*/ 10 w 135"/>
                <a:gd name="T5" fmla="*/ 227 h 230"/>
                <a:gd name="T6" fmla="*/ 6 w 135"/>
                <a:gd name="T7" fmla="*/ 218 h 230"/>
                <a:gd name="T8" fmla="*/ 2 w 135"/>
                <a:gd name="T9" fmla="*/ 204 h 230"/>
                <a:gd name="T10" fmla="*/ 0 w 135"/>
                <a:gd name="T11" fmla="*/ 186 h 230"/>
                <a:gd name="T12" fmla="*/ 0 w 135"/>
                <a:gd name="T13" fmla="*/ 164 h 230"/>
                <a:gd name="T14" fmla="*/ 2 w 135"/>
                <a:gd name="T15" fmla="*/ 140 h 230"/>
                <a:gd name="T16" fmla="*/ 11 w 135"/>
                <a:gd name="T17" fmla="*/ 113 h 230"/>
                <a:gd name="T18" fmla="*/ 20 w 135"/>
                <a:gd name="T19" fmla="*/ 94 h 230"/>
                <a:gd name="T20" fmla="*/ 28 w 135"/>
                <a:gd name="T21" fmla="*/ 74 h 230"/>
                <a:gd name="T22" fmla="*/ 36 w 135"/>
                <a:gd name="T23" fmla="*/ 56 h 230"/>
                <a:gd name="T24" fmla="*/ 45 w 135"/>
                <a:gd name="T25" fmla="*/ 41 h 230"/>
                <a:gd name="T26" fmla="*/ 55 w 135"/>
                <a:gd name="T27" fmla="*/ 28 h 230"/>
                <a:gd name="T28" fmla="*/ 68 w 135"/>
                <a:gd name="T29" fmla="*/ 16 h 230"/>
                <a:gd name="T30" fmla="*/ 87 w 135"/>
                <a:gd name="T31" fmla="*/ 8 h 230"/>
                <a:gd name="T32" fmla="*/ 107 w 135"/>
                <a:gd name="T33" fmla="*/ 2 h 230"/>
                <a:gd name="T34" fmla="*/ 135 w 135"/>
                <a:gd name="T3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5" h="230">
                  <a:moveTo>
                    <a:pt x="135" y="0"/>
                  </a:moveTo>
                  <a:lnTo>
                    <a:pt x="11" y="230"/>
                  </a:lnTo>
                  <a:lnTo>
                    <a:pt x="10" y="227"/>
                  </a:lnTo>
                  <a:lnTo>
                    <a:pt x="6" y="218"/>
                  </a:lnTo>
                  <a:lnTo>
                    <a:pt x="2" y="204"/>
                  </a:lnTo>
                  <a:lnTo>
                    <a:pt x="0" y="186"/>
                  </a:lnTo>
                  <a:lnTo>
                    <a:pt x="0" y="164"/>
                  </a:lnTo>
                  <a:lnTo>
                    <a:pt x="2" y="140"/>
                  </a:lnTo>
                  <a:lnTo>
                    <a:pt x="11" y="113"/>
                  </a:lnTo>
                  <a:lnTo>
                    <a:pt x="20" y="94"/>
                  </a:lnTo>
                  <a:lnTo>
                    <a:pt x="28" y="74"/>
                  </a:lnTo>
                  <a:lnTo>
                    <a:pt x="36" y="56"/>
                  </a:lnTo>
                  <a:lnTo>
                    <a:pt x="45" y="41"/>
                  </a:lnTo>
                  <a:lnTo>
                    <a:pt x="55" y="28"/>
                  </a:lnTo>
                  <a:lnTo>
                    <a:pt x="68" y="16"/>
                  </a:lnTo>
                  <a:lnTo>
                    <a:pt x="87" y="8"/>
                  </a:lnTo>
                  <a:lnTo>
                    <a:pt x="107" y="2"/>
                  </a:lnTo>
                  <a:lnTo>
                    <a:pt x="135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1" name="Freeform 9"/>
            <p:cNvSpPr>
              <a:spLocks/>
            </p:cNvSpPr>
            <p:nvPr/>
          </p:nvSpPr>
          <p:spPr bwMode="auto">
            <a:xfrm>
              <a:off x="2695575" y="4357688"/>
              <a:ext cx="6792913" cy="2500312"/>
            </a:xfrm>
            <a:custGeom>
              <a:avLst/>
              <a:gdLst>
                <a:gd name="T0" fmla="*/ 4199 w 4279"/>
                <a:gd name="T1" fmla="*/ 29 h 1575"/>
                <a:gd name="T2" fmla="*/ 4111 w 4279"/>
                <a:gd name="T3" fmla="*/ 269 h 1575"/>
                <a:gd name="T4" fmla="*/ 4055 w 4279"/>
                <a:gd name="T5" fmla="*/ 314 h 1575"/>
                <a:gd name="T6" fmla="*/ 3946 w 4279"/>
                <a:gd name="T7" fmla="*/ 403 h 1575"/>
                <a:gd name="T8" fmla="*/ 3815 w 4279"/>
                <a:gd name="T9" fmla="*/ 515 h 1575"/>
                <a:gd name="T10" fmla="*/ 3689 w 4279"/>
                <a:gd name="T11" fmla="*/ 626 h 1575"/>
                <a:gd name="T12" fmla="*/ 3625 w 4279"/>
                <a:gd name="T13" fmla="*/ 681 h 1575"/>
                <a:gd name="T14" fmla="*/ 3538 w 4279"/>
                <a:gd name="T15" fmla="*/ 725 h 1575"/>
                <a:gd name="T16" fmla="*/ 3398 w 4279"/>
                <a:gd name="T17" fmla="*/ 795 h 1575"/>
                <a:gd name="T18" fmla="*/ 3238 w 4279"/>
                <a:gd name="T19" fmla="*/ 874 h 1575"/>
                <a:gd name="T20" fmla="*/ 3094 w 4279"/>
                <a:gd name="T21" fmla="*/ 945 h 1575"/>
                <a:gd name="T22" fmla="*/ 2998 w 4279"/>
                <a:gd name="T23" fmla="*/ 988 h 1575"/>
                <a:gd name="T24" fmla="*/ 2823 w 4279"/>
                <a:gd name="T25" fmla="*/ 1076 h 1575"/>
                <a:gd name="T26" fmla="*/ 2591 w 4279"/>
                <a:gd name="T27" fmla="*/ 1160 h 1575"/>
                <a:gd name="T28" fmla="*/ 2399 w 4279"/>
                <a:gd name="T29" fmla="*/ 1169 h 1575"/>
                <a:gd name="T30" fmla="*/ 2181 w 4279"/>
                <a:gd name="T31" fmla="*/ 1145 h 1575"/>
                <a:gd name="T32" fmla="*/ 1907 w 4279"/>
                <a:gd name="T33" fmla="*/ 1119 h 1575"/>
                <a:gd name="T34" fmla="*/ 1639 w 4279"/>
                <a:gd name="T35" fmla="*/ 1132 h 1575"/>
                <a:gd name="T36" fmla="*/ 1359 w 4279"/>
                <a:gd name="T37" fmla="*/ 1222 h 1575"/>
                <a:gd name="T38" fmla="*/ 1142 w 4279"/>
                <a:gd name="T39" fmla="*/ 1365 h 1575"/>
                <a:gd name="T40" fmla="*/ 1002 w 4279"/>
                <a:gd name="T41" fmla="*/ 1575 h 1575"/>
                <a:gd name="T42" fmla="*/ 16 w 4279"/>
                <a:gd name="T43" fmla="*/ 1550 h 1575"/>
                <a:gd name="T44" fmla="*/ 75 w 4279"/>
                <a:gd name="T45" fmla="*/ 1453 h 1575"/>
                <a:gd name="T46" fmla="*/ 165 w 4279"/>
                <a:gd name="T47" fmla="*/ 1307 h 1575"/>
                <a:gd name="T48" fmla="*/ 267 w 4279"/>
                <a:gd name="T49" fmla="*/ 1140 h 1575"/>
                <a:gd name="T50" fmla="*/ 367 w 4279"/>
                <a:gd name="T51" fmla="*/ 979 h 1575"/>
                <a:gd name="T52" fmla="*/ 447 w 4279"/>
                <a:gd name="T53" fmla="*/ 850 h 1575"/>
                <a:gd name="T54" fmla="*/ 498 w 4279"/>
                <a:gd name="T55" fmla="*/ 769 h 1575"/>
                <a:gd name="T56" fmla="*/ 580 w 4279"/>
                <a:gd name="T57" fmla="*/ 647 h 1575"/>
                <a:gd name="T58" fmla="*/ 668 w 4279"/>
                <a:gd name="T59" fmla="*/ 517 h 1575"/>
                <a:gd name="T60" fmla="*/ 735 w 4279"/>
                <a:gd name="T61" fmla="*/ 423 h 1575"/>
                <a:gd name="T62" fmla="*/ 794 w 4279"/>
                <a:gd name="T63" fmla="*/ 359 h 1575"/>
                <a:gd name="T64" fmla="*/ 915 w 4279"/>
                <a:gd name="T65" fmla="*/ 284 h 1575"/>
                <a:gd name="T66" fmla="*/ 1097 w 4279"/>
                <a:gd name="T67" fmla="*/ 227 h 1575"/>
                <a:gd name="T68" fmla="*/ 1334 w 4279"/>
                <a:gd name="T69" fmla="*/ 218 h 1575"/>
                <a:gd name="T70" fmla="*/ 1625 w 4279"/>
                <a:gd name="T71" fmla="*/ 279 h 1575"/>
                <a:gd name="T72" fmla="*/ 1852 w 4279"/>
                <a:gd name="T73" fmla="*/ 344 h 1575"/>
                <a:gd name="T74" fmla="*/ 2026 w 4279"/>
                <a:gd name="T75" fmla="*/ 372 h 1575"/>
                <a:gd name="T76" fmla="*/ 2204 w 4279"/>
                <a:gd name="T77" fmla="*/ 342 h 1575"/>
                <a:gd name="T78" fmla="*/ 2423 w 4279"/>
                <a:gd name="T79" fmla="*/ 253 h 1575"/>
                <a:gd name="T80" fmla="*/ 2622 w 4279"/>
                <a:gd name="T81" fmla="*/ 179 h 1575"/>
                <a:gd name="T82" fmla="*/ 2796 w 4279"/>
                <a:gd name="T83" fmla="*/ 166 h 1575"/>
                <a:gd name="T84" fmla="*/ 2910 w 4279"/>
                <a:gd name="T85" fmla="*/ 221 h 1575"/>
                <a:gd name="T86" fmla="*/ 2941 w 4279"/>
                <a:gd name="T87" fmla="*/ 261 h 1575"/>
                <a:gd name="T88" fmla="*/ 2966 w 4279"/>
                <a:gd name="T89" fmla="*/ 336 h 1575"/>
                <a:gd name="T90" fmla="*/ 2932 w 4279"/>
                <a:gd name="T91" fmla="*/ 421 h 1575"/>
                <a:gd name="T92" fmla="*/ 2833 w 4279"/>
                <a:gd name="T93" fmla="*/ 495 h 1575"/>
                <a:gd name="T94" fmla="*/ 2791 w 4279"/>
                <a:gd name="T95" fmla="*/ 525 h 1575"/>
                <a:gd name="T96" fmla="*/ 2787 w 4279"/>
                <a:gd name="T97" fmla="*/ 529 h 1575"/>
                <a:gd name="T98" fmla="*/ 2866 w 4279"/>
                <a:gd name="T99" fmla="*/ 543 h 1575"/>
                <a:gd name="T100" fmla="*/ 2967 w 4279"/>
                <a:gd name="T101" fmla="*/ 590 h 1575"/>
                <a:gd name="T102" fmla="*/ 3005 w 4279"/>
                <a:gd name="T103" fmla="*/ 561 h 1575"/>
                <a:gd name="T104" fmla="*/ 3105 w 4279"/>
                <a:gd name="T105" fmla="*/ 503 h 1575"/>
                <a:gd name="T106" fmla="*/ 3251 w 4279"/>
                <a:gd name="T107" fmla="*/ 462 h 1575"/>
                <a:gd name="T108" fmla="*/ 3318 w 4279"/>
                <a:gd name="T109" fmla="*/ 443 h 1575"/>
                <a:gd name="T110" fmla="*/ 3407 w 4279"/>
                <a:gd name="T111" fmla="*/ 393 h 1575"/>
                <a:gd name="T112" fmla="*/ 3525 w 4279"/>
                <a:gd name="T113" fmla="*/ 326 h 1575"/>
                <a:gd name="T114" fmla="*/ 3630 w 4279"/>
                <a:gd name="T115" fmla="*/ 266 h 1575"/>
                <a:gd name="T116" fmla="*/ 3713 w 4279"/>
                <a:gd name="T117" fmla="*/ 199 h 1575"/>
                <a:gd name="T118" fmla="*/ 3824 w 4279"/>
                <a:gd name="T119" fmla="*/ 104 h 1575"/>
                <a:gd name="T120" fmla="*/ 3959 w 4279"/>
                <a:gd name="T121" fmla="*/ 24 h 1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79" h="1575">
                  <a:moveTo>
                    <a:pt x="4073" y="0"/>
                  </a:moveTo>
                  <a:lnTo>
                    <a:pt x="4115" y="4"/>
                  </a:lnTo>
                  <a:lnTo>
                    <a:pt x="4156" y="13"/>
                  </a:lnTo>
                  <a:lnTo>
                    <a:pt x="4199" y="29"/>
                  </a:lnTo>
                  <a:lnTo>
                    <a:pt x="4242" y="53"/>
                  </a:lnTo>
                  <a:lnTo>
                    <a:pt x="4279" y="83"/>
                  </a:lnTo>
                  <a:lnTo>
                    <a:pt x="4113" y="266"/>
                  </a:lnTo>
                  <a:lnTo>
                    <a:pt x="4111" y="269"/>
                  </a:lnTo>
                  <a:lnTo>
                    <a:pt x="4103" y="274"/>
                  </a:lnTo>
                  <a:lnTo>
                    <a:pt x="4091" y="284"/>
                  </a:lnTo>
                  <a:lnTo>
                    <a:pt x="4074" y="298"/>
                  </a:lnTo>
                  <a:lnTo>
                    <a:pt x="4055" y="314"/>
                  </a:lnTo>
                  <a:lnTo>
                    <a:pt x="4031" y="333"/>
                  </a:lnTo>
                  <a:lnTo>
                    <a:pt x="4004" y="355"/>
                  </a:lnTo>
                  <a:lnTo>
                    <a:pt x="3976" y="379"/>
                  </a:lnTo>
                  <a:lnTo>
                    <a:pt x="3946" y="403"/>
                  </a:lnTo>
                  <a:lnTo>
                    <a:pt x="3913" y="431"/>
                  </a:lnTo>
                  <a:lnTo>
                    <a:pt x="3881" y="458"/>
                  </a:lnTo>
                  <a:lnTo>
                    <a:pt x="3847" y="486"/>
                  </a:lnTo>
                  <a:lnTo>
                    <a:pt x="3815" y="515"/>
                  </a:lnTo>
                  <a:lnTo>
                    <a:pt x="3781" y="543"/>
                  </a:lnTo>
                  <a:lnTo>
                    <a:pt x="3749" y="572"/>
                  </a:lnTo>
                  <a:lnTo>
                    <a:pt x="3719" y="599"/>
                  </a:lnTo>
                  <a:lnTo>
                    <a:pt x="3689" y="626"/>
                  </a:lnTo>
                  <a:lnTo>
                    <a:pt x="3662" y="651"/>
                  </a:lnTo>
                  <a:lnTo>
                    <a:pt x="3637" y="674"/>
                  </a:lnTo>
                  <a:lnTo>
                    <a:pt x="3634" y="676"/>
                  </a:lnTo>
                  <a:lnTo>
                    <a:pt x="3625" y="681"/>
                  </a:lnTo>
                  <a:lnTo>
                    <a:pt x="3610" y="688"/>
                  </a:lnTo>
                  <a:lnTo>
                    <a:pt x="3590" y="698"/>
                  </a:lnTo>
                  <a:lnTo>
                    <a:pt x="3567" y="710"/>
                  </a:lnTo>
                  <a:lnTo>
                    <a:pt x="3538" y="725"/>
                  </a:lnTo>
                  <a:lnTo>
                    <a:pt x="3507" y="740"/>
                  </a:lnTo>
                  <a:lnTo>
                    <a:pt x="3472" y="757"/>
                  </a:lnTo>
                  <a:lnTo>
                    <a:pt x="3436" y="775"/>
                  </a:lnTo>
                  <a:lnTo>
                    <a:pt x="3398" y="795"/>
                  </a:lnTo>
                  <a:lnTo>
                    <a:pt x="3359" y="814"/>
                  </a:lnTo>
                  <a:lnTo>
                    <a:pt x="3319" y="835"/>
                  </a:lnTo>
                  <a:lnTo>
                    <a:pt x="3279" y="854"/>
                  </a:lnTo>
                  <a:lnTo>
                    <a:pt x="3238" y="874"/>
                  </a:lnTo>
                  <a:lnTo>
                    <a:pt x="3199" y="893"/>
                  </a:lnTo>
                  <a:lnTo>
                    <a:pt x="3162" y="911"/>
                  </a:lnTo>
                  <a:lnTo>
                    <a:pt x="3127" y="930"/>
                  </a:lnTo>
                  <a:lnTo>
                    <a:pt x="3094" y="945"/>
                  </a:lnTo>
                  <a:lnTo>
                    <a:pt x="3065" y="959"/>
                  </a:lnTo>
                  <a:lnTo>
                    <a:pt x="3039" y="971"/>
                  </a:lnTo>
                  <a:lnTo>
                    <a:pt x="3016" y="980"/>
                  </a:lnTo>
                  <a:lnTo>
                    <a:pt x="2998" y="988"/>
                  </a:lnTo>
                  <a:lnTo>
                    <a:pt x="2961" y="1005"/>
                  </a:lnTo>
                  <a:lnTo>
                    <a:pt x="2918" y="1027"/>
                  </a:lnTo>
                  <a:lnTo>
                    <a:pt x="2872" y="1050"/>
                  </a:lnTo>
                  <a:lnTo>
                    <a:pt x="2823" y="1076"/>
                  </a:lnTo>
                  <a:lnTo>
                    <a:pt x="2770" y="1101"/>
                  </a:lnTo>
                  <a:lnTo>
                    <a:pt x="2713" y="1124"/>
                  </a:lnTo>
                  <a:lnTo>
                    <a:pt x="2653" y="1145"/>
                  </a:lnTo>
                  <a:lnTo>
                    <a:pt x="2591" y="1160"/>
                  </a:lnTo>
                  <a:lnTo>
                    <a:pt x="2526" y="1171"/>
                  </a:lnTo>
                  <a:lnTo>
                    <a:pt x="2488" y="1172"/>
                  </a:lnTo>
                  <a:lnTo>
                    <a:pt x="2445" y="1172"/>
                  </a:lnTo>
                  <a:lnTo>
                    <a:pt x="2399" y="1169"/>
                  </a:lnTo>
                  <a:lnTo>
                    <a:pt x="2349" y="1164"/>
                  </a:lnTo>
                  <a:lnTo>
                    <a:pt x="2295" y="1159"/>
                  </a:lnTo>
                  <a:lnTo>
                    <a:pt x="2239" y="1151"/>
                  </a:lnTo>
                  <a:lnTo>
                    <a:pt x="2181" y="1145"/>
                  </a:lnTo>
                  <a:lnTo>
                    <a:pt x="2113" y="1137"/>
                  </a:lnTo>
                  <a:lnTo>
                    <a:pt x="2046" y="1129"/>
                  </a:lnTo>
                  <a:lnTo>
                    <a:pt x="1976" y="1123"/>
                  </a:lnTo>
                  <a:lnTo>
                    <a:pt x="1907" y="1119"/>
                  </a:lnTo>
                  <a:lnTo>
                    <a:pt x="1837" y="1116"/>
                  </a:lnTo>
                  <a:lnTo>
                    <a:pt x="1769" y="1117"/>
                  </a:lnTo>
                  <a:lnTo>
                    <a:pt x="1703" y="1123"/>
                  </a:lnTo>
                  <a:lnTo>
                    <a:pt x="1639" y="1132"/>
                  </a:lnTo>
                  <a:lnTo>
                    <a:pt x="1578" y="1146"/>
                  </a:lnTo>
                  <a:lnTo>
                    <a:pt x="1499" y="1169"/>
                  </a:lnTo>
                  <a:lnTo>
                    <a:pt x="1426" y="1195"/>
                  </a:lnTo>
                  <a:lnTo>
                    <a:pt x="1359" y="1222"/>
                  </a:lnTo>
                  <a:lnTo>
                    <a:pt x="1297" y="1254"/>
                  </a:lnTo>
                  <a:lnTo>
                    <a:pt x="1240" y="1287"/>
                  </a:lnTo>
                  <a:lnTo>
                    <a:pt x="1189" y="1324"/>
                  </a:lnTo>
                  <a:lnTo>
                    <a:pt x="1142" y="1365"/>
                  </a:lnTo>
                  <a:lnTo>
                    <a:pt x="1101" y="1409"/>
                  </a:lnTo>
                  <a:lnTo>
                    <a:pt x="1063" y="1460"/>
                  </a:lnTo>
                  <a:lnTo>
                    <a:pt x="1031" y="1514"/>
                  </a:lnTo>
                  <a:lnTo>
                    <a:pt x="1002" y="1575"/>
                  </a:lnTo>
                  <a:lnTo>
                    <a:pt x="0" y="1575"/>
                  </a:lnTo>
                  <a:lnTo>
                    <a:pt x="1" y="1572"/>
                  </a:lnTo>
                  <a:lnTo>
                    <a:pt x="6" y="1563"/>
                  </a:lnTo>
                  <a:lnTo>
                    <a:pt x="16" y="1550"/>
                  </a:lnTo>
                  <a:lnTo>
                    <a:pt x="27" y="1532"/>
                  </a:lnTo>
                  <a:lnTo>
                    <a:pt x="40" y="1509"/>
                  </a:lnTo>
                  <a:lnTo>
                    <a:pt x="57" y="1483"/>
                  </a:lnTo>
                  <a:lnTo>
                    <a:pt x="75" y="1453"/>
                  </a:lnTo>
                  <a:lnTo>
                    <a:pt x="96" y="1419"/>
                  </a:lnTo>
                  <a:lnTo>
                    <a:pt x="117" y="1384"/>
                  </a:lnTo>
                  <a:lnTo>
                    <a:pt x="140" y="1346"/>
                  </a:lnTo>
                  <a:lnTo>
                    <a:pt x="165" y="1307"/>
                  </a:lnTo>
                  <a:lnTo>
                    <a:pt x="190" y="1265"/>
                  </a:lnTo>
                  <a:lnTo>
                    <a:pt x="215" y="1224"/>
                  </a:lnTo>
                  <a:lnTo>
                    <a:pt x="241" y="1182"/>
                  </a:lnTo>
                  <a:lnTo>
                    <a:pt x="267" y="1140"/>
                  </a:lnTo>
                  <a:lnTo>
                    <a:pt x="293" y="1098"/>
                  </a:lnTo>
                  <a:lnTo>
                    <a:pt x="319" y="1057"/>
                  </a:lnTo>
                  <a:lnTo>
                    <a:pt x="344" y="1016"/>
                  </a:lnTo>
                  <a:lnTo>
                    <a:pt x="367" y="979"/>
                  </a:lnTo>
                  <a:lnTo>
                    <a:pt x="389" y="942"/>
                  </a:lnTo>
                  <a:lnTo>
                    <a:pt x="410" y="909"/>
                  </a:lnTo>
                  <a:lnTo>
                    <a:pt x="430" y="878"/>
                  </a:lnTo>
                  <a:lnTo>
                    <a:pt x="447" y="850"/>
                  </a:lnTo>
                  <a:lnTo>
                    <a:pt x="461" y="827"/>
                  </a:lnTo>
                  <a:lnTo>
                    <a:pt x="472" y="808"/>
                  </a:lnTo>
                  <a:lnTo>
                    <a:pt x="482" y="793"/>
                  </a:lnTo>
                  <a:lnTo>
                    <a:pt x="498" y="769"/>
                  </a:lnTo>
                  <a:lnTo>
                    <a:pt x="517" y="742"/>
                  </a:lnTo>
                  <a:lnTo>
                    <a:pt x="536" y="712"/>
                  </a:lnTo>
                  <a:lnTo>
                    <a:pt x="557" y="679"/>
                  </a:lnTo>
                  <a:lnTo>
                    <a:pt x="580" y="647"/>
                  </a:lnTo>
                  <a:lnTo>
                    <a:pt x="602" y="613"/>
                  </a:lnTo>
                  <a:lnTo>
                    <a:pt x="626" y="581"/>
                  </a:lnTo>
                  <a:lnTo>
                    <a:pt x="648" y="548"/>
                  </a:lnTo>
                  <a:lnTo>
                    <a:pt x="668" y="517"/>
                  </a:lnTo>
                  <a:lnTo>
                    <a:pt x="688" y="489"/>
                  </a:lnTo>
                  <a:lnTo>
                    <a:pt x="706" y="463"/>
                  </a:lnTo>
                  <a:lnTo>
                    <a:pt x="722" y="441"/>
                  </a:lnTo>
                  <a:lnTo>
                    <a:pt x="735" y="423"/>
                  </a:lnTo>
                  <a:lnTo>
                    <a:pt x="745" y="410"/>
                  </a:lnTo>
                  <a:lnTo>
                    <a:pt x="757" y="394"/>
                  </a:lnTo>
                  <a:lnTo>
                    <a:pt x="774" y="377"/>
                  </a:lnTo>
                  <a:lnTo>
                    <a:pt x="794" y="359"/>
                  </a:lnTo>
                  <a:lnTo>
                    <a:pt x="819" y="341"/>
                  </a:lnTo>
                  <a:lnTo>
                    <a:pt x="848" y="322"/>
                  </a:lnTo>
                  <a:lnTo>
                    <a:pt x="880" y="302"/>
                  </a:lnTo>
                  <a:lnTo>
                    <a:pt x="915" y="284"/>
                  </a:lnTo>
                  <a:lnTo>
                    <a:pt x="955" y="267"/>
                  </a:lnTo>
                  <a:lnTo>
                    <a:pt x="998" y="252"/>
                  </a:lnTo>
                  <a:lnTo>
                    <a:pt x="1045" y="239"/>
                  </a:lnTo>
                  <a:lnTo>
                    <a:pt x="1097" y="227"/>
                  </a:lnTo>
                  <a:lnTo>
                    <a:pt x="1150" y="219"/>
                  </a:lnTo>
                  <a:lnTo>
                    <a:pt x="1208" y="215"/>
                  </a:lnTo>
                  <a:lnTo>
                    <a:pt x="1269" y="214"/>
                  </a:lnTo>
                  <a:lnTo>
                    <a:pt x="1334" y="218"/>
                  </a:lnTo>
                  <a:lnTo>
                    <a:pt x="1403" y="227"/>
                  </a:lnTo>
                  <a:lnTo>
                    <a:pt x="1474" y="241"/>
                  </a:lnTo>
                  <a:lnTo>
                    <a:pt x="1554" y="261"/>
                  </a:lnTo>
                  <a:lnTo>
                    <a:pt x="1625" y="279"/>
                  </a:lnTo>
                  <a:lnTo>
                    <a:pt x="1690" y="297"/>
                  </a:lnTo>
                  <a:lnTo>
                    <a:pt x="1748" y="314"/>
                  </a:lnTo>
                  <a:lnTo>
                    <a:pt x="1802" y="329"/>
                  </a:lnTo>
                  <a:lnTo>
                    <a:pt x="1852" y="344"/>
                  </a:lnTo>
                  <a:lnTo>
                    <a:pt x="1898" y="354"/>
                  </a:lnTo>
                  <a:lnTo>
                    <a:pt x="1942" y="363"/>
                  </a:lnTo>
                  <a:lnTo>
                    <a:pt x="1983" y="370"/>
                  </a:lnTo>
                  <a:lnTo>
                    <a:pt x="2026" y="372"/>
                  </a:lnTo>
                  <a:lnTo>
                    <a:pt x="2068" y="371"/>
                  </a:lnTo>
                  <a:lnTo>
                    <a:pt x="2110" y="366"/>
                  </a:lnTo>
                  <a:lnTo>
                    <a:pt x="2156" y="357"/>
                  </a:lnTo>
                  <a:lnTo>
                    <a:pt x="2204" y="342"/>
                  </a:lnTo>
                  <a:lnTo>
                    <a:pt x="2256" y="323"/>
                  </a:lnTo>
                  <a:lnTo>
                    <a:pt x="2314" y="300"/>
                  </a:lnTo>
                  <a:lnTo>
                    <a:pt x="2369" y="276"/>
                  </a:lnTo>
                  <a:lnTo>
                    <a:pt x="2423" y="253"/>
                  </a:lnTo>
                  <a:lnTo>
                    <a:pt x="2475" y="231"/>
                  </a:lnTo>
                  <a:lnTo>
                    <a:pt x="2526" y="211"/>
                  </a:lnTo>
                  <a:lnTo>
                    <a:pt x="2575" y="193"/>
                  </a:lnTo>
                  <a:lnTo>
                    <a:pt x="2622" y="179"/>
                  </a:lnTo>
                  <a:lnTo>
                    <a:pt x="2667" y="169"/>
                  </a:lnTo>
                  <a:lnTo>
                    <a:pt x="2711" y="162"/>
                  </a:lnTo>
                  <a:lnTo>
                    <a:pt x="2754" y="161"/>
                  </a:lnTo>
                  <a:lnTo>
                    <a:pt x="2796" y="166"/>
                  </a:lnTo>
                  <a:lnTo>
                    <a:pt x="2835" y="176"/>
                  </a:lnTo>
                  <a:lnTo>
                    <a:pt x="2872" y="193"/>
                  </a:lnTo>
                  <a:lnTo>
                    <a:pt x="2909" y="219"/>
                  </a:lnTo>
                  <a:lnTo>
                    <a:pt x="2910" y="221"/>
                  </a:lnTo>
                  <a:lnTo>
                    <a:pt x="2915" y="226"/>
                  </a:lnTo>
                  <a:lnTo>
                    <a:pt x="2923" y="235"/>
                  </a:lnTo>
                  <a:lnTo>
                    <a:pt x="2931" y="246"/>
                  </a:lnTo>
                  <a:lnTo>
                    <a:pt x="2941" y="261"/>
                  </a:lnTo>
                  <a:lnTo>
                    <a:pt x="2950" y="278"/>
                  </a:lnTo>
                  <a:lnTo>
                    <a:pt x="2958" y="296"/>
                  </a:lnTo>
                  <a:lnTo>
                    <a:pt x="2963" y="315"/>
                  </a:lnTo>
                  <a:lnTo>
                    <a:pt x="2966" y="336"/>
                  </a:lnTo>
                  <a:lnTo>
                    <a:pt x="2966" y="357"/>
                  </a:lnTo>
                  <a:lnTo>
                    <a:pt x="2961" y="379"/>
                  </a:lnTo>
                  <a:lnTo>
                    <a:pt x="2950" y="401"/>
                  </a:lnTo>
                  <a:lnTo>
                    <a:pt x="2932" y="421"/>
                  </a:lnTo>
                  <a:lnTo>
                    <a:pt x="2909" y="442"/>
                  </a:lnTo>
                  <a:lnTo>
                    <a:pt x="2879" y="464"/>
                  </a:lnTo>
                  <a:lnTo>
                    <a:pt x="2854" y="481"/>
                  </a:lnTo>
                  <a:lnTo>
                    <a:pt x="2833" y="495"/>
                  </a:lnTo>
                  <a:lnTo>
                    <a:pt x="2818" y="507"/>
                  </a:lnTo>
                  <a:lnTo>
                    <a:pt x="2805" y="515"/>
                  </a:lnTo>
                  <a:lnTo>
                    <a:pt x="2796" y="521"/>
                  </a:lnTo>
                  <a:lnTo>
                    <a:pt x="2791" y="525"/>
                  </a:lnTo>
                  <a:lnTo>
                    <a:pt x="2785" y="528"/>
                  </a:lnTo>
                  <a:lnTo>
                    <a:pt x="2784" y="529"/>
                  </a:lnTo>
                  <a:lnTo>
                    <a:pt x="2783" y="529"/>
                  </a:lnTo>
                  <a:lnTo>
                    <a:pt x="2787" y="529"/>
                  </a:lnTo>
                  <a:lnTo>
                    <a:pt x="2798" y="530"/>
                  </a:lnTo>
                  <a:lnTo>
                    <a:pt x="2817" y="534"/>
                  </a:lnTo>
                  <a:lnTo>
                    <a:pt x="2840" y="538"/>
                  </a:lnTo>
                  <a:lnTo>
                    <a:pt x="2866" y="543"/>
                  </a:lnTo>
                  <a:lnTo>
                    <a:pt x="2893" y="551"/>
                  </a:lnTo>
                  <a:lnTo>
                    <a:pt x="2919" y="561"/>
                  </a:lnTo>
                  <a:lnTo>
                    <a:pt x="2945" y="574"/>
                  </a:lnTo>
                  <a:lnTo>
                    <a:pt x="2967" y="590"/>
                  </a:lnTo>
                  <a:lnTo>
                    <a:pt x="2970" y="587"/>
                  </a:lnTo>
                  <a:lnTo>
                    <a:pt x="2976" y="582"/>
                  </a:lnTo>
                  <a:lnTo>
                    <a:pt x="2988" y="573"/>
                  </a:lnTo>
                  <a:lnTo>
                    <a:pt x="3005" y="561"/>
                  </a:lnTo>
                  <a:lnTo>
                    <a:pt x="3024" y="547"/>
                  </a:lnTo>
                  <a:lnTo>
                    <a:pt x="3048" y="533"/>
                  </a:lnTo>
                  <a:lnTo>
                    <a:pt x="3075" y="517"/>
                  </a:lnTo>
                  <a:lnTo>
                    <a:pt x="3105" y="503"/>
                  </a:lnTo>
                  <a:lnTo>
                    <a:pt x="3138" y="489"/>
                  </a:lnTo>
                  <a:lnTo>
                    <a:pt x="3174" y="477"/>
                  </a:lnTo>
                  <a:lnTo>
                    <a:pt x="3211" y="468"/>
                  </a:lnTo>
                  <a:lnTo>
                    <a:pt x="3251" y="462"/>
                  </a:lnTo>
                  <a:lnTo>
                    <a:pt x="3293" y="458"/>
                  </a:lnTo>
                  <a:lnTo>
                    <a:pt x="3296" y="456"/>
                  </a:lnTo>
                  <a:lnTo>
                    <a:pt x="3305" y="451"/>
                  </a:lnTo>
                  <a:lnTo>
                    <a:pt x="3318" y="443"/>
                  </a:lnTo>
                  <a:lnTo>
                    <a:pt x="3334" y="434"/>
                  </a:lnTo>
                  <a:lnTo>
                    <a:pt x="3357" y="421"/>
                  </a:lnTo>
                  <a:lnTo>
                    <a:pt x="3380" y="409"/>
                  </a:lnTo>
                  <a:lnTo>
                    <a:pt x="3407" y="393"/>
                  </a:lnTo>
                  <a:lnTo>
                    <a:pt x="3436" y="376"/>
                  </a:lnTo>
                  <a:lnTo>
                    <a:pt x="3466" y="359"/>
                  </a:lnTo>
                  <a:lnTo>
                    <a:pt x="3495" y="342"/>
                  </a:lnTo>
                  <a:lnTo>
                    <a:pt x="3525" y="326"/>
                  </a:lnTo>
                  <a:lnTo>
                    <a:pt x="3554" y="309"/>
                  </a:lnTo>
                  <a:lnTo>
                    <a:pt x="3581" y="293"/>
                  </a:lnTo>
                  <a:lnTo>
                    <a:pt x="3607" y="279"/>
                  </a:lnTo>
                  <a:lnTo>
                    <a:pt x="3630" y="266"/>
                  </a:lnTo>
                  <a:lnTo>
                    <a:pt x="3649" y="254"/>
                  </a:lnTo>
                  <a:lnTo>
                    <a:pt x="3668" y="239"/>
                  </a:lnTo>
                  <a:lnTo>
                    <a:pt x="3690" y="221"/>
                  </a:lnTo>
                  <a:lnTo>
                    <a:pt x="3713" y="199"/>
                  </a:lnTo>
                  <a:lnTo>
                    <a:pt x="3739" y="176"/>
                  </a:lnTo>
                  <a:lnTo>
                    <a:pt x="3765" y="152"/>
                  </a:lnTo>
                  <a:lnTo>
                    <a:pt x="3794" y="127"/>
                  </a:lnTo>
                  <a:lnTo>
                    <a:pt x="3824" y="104"/>
                  </a:lnTo>
                  <a:lnTo>
                    <a:pt x="3855" y="81"/>
                  </a:lnTo>
                  <a:lnTo>
                    <a:pt x="3889" y="60"/>
                  </a:lnTo>
                  <a:lnTo>
                    <a:pt x="3922" y="40"/>
                  </a:lnTo>
                  <a:lnTo>
                    <a:pt x="3959" y="24"/>
                  </a:lnTo>
                  <a:lnTo>
                    <a:pt x="3995" y="12"/>
                  </a:lnTo>
                  <a:lnTo>
                    <a:pt x="4034" y="4"/>
                  </a:lnTo>
                  <a:lnTo>
                    <a:pt x="4073" y="0"/>
                  </a:lnTo>
                  <a:close/>
                </a:path>
              </a:pathLst>
            </a:custGeom>
            <a:solidFill>
              <a:srgbClr val="DDC9AB">
                <a:lumMod val="60000"/>
                <a:lumOff val="40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2" name="Freeform 10"/>
            <p:cNvSpPr>
              <a:spLocks/>
            </p:cNvSpPr>
            <p:nvPr/>
          </p:nvSpPr>
          <p:spPr bwMode="auto">
            <a:xfrm>
              <a:off x="5526088" y="5757863"/>
              <a:ext cx="85725" cy="44450"/>
            </a:xfrm>
            <a:custGeom>
              <a:avLst/>
              <a:gdLst>
                <a:gd name="T0" fmla="*/ 54 w 54"/>
                <a:gd name="T1" fmla="*/ 0 h 28"/>
                <a:gd name="T2" fmla="*/ 35 w 54"/>
                <a:gd name="T3" fmla="*/ 9 h 28"/>
                <a:gd name="T4" fmla="*/ 21 w 54"/>
                <a:gd name="T5" fmla="*/ 16 h 28"/>
                <a:gd name="T6" fmla="*/ 9 w 54"/>
                <a:gd name="T7" fmla="*/ 23 h 28"/>
                <a:gd name="T8" fmla="*/ 3 w 54"/>
                <a:gd name="T9" fmla="*/ 27 h 28"/>
                <a:gd name="T10" fmla="*/ 0 w 54"/>
                <a:gd name="T11" fmla="*/ 28 h 28"/>
                <a:gd name="T12" fmla="*/ 13 w 54"/>
                <a:gd name="T13" fmla="*/ 19 h 28"/>
                <a:gd name="T14" fmla="*/ 30 w 54"/>
                <a:gd name="T15" fmla="*/ 10 h 28"/>
                <a:gd name="T16" fmla="*/ 54 w 54"/>
                <a:gd name="T1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28">
                  <a:moveTo>
                    <a:pt x="54" y="0"/>
                  </a:moveTo>
                  <a:lnTo>
                    <a:pt x="35" y="9"/>
                  </a:lnTo>
                  <a:lnTo>
                    <a:pt x="21" y="16"/>
                  </a:lnTo>
                  <a:lnTo>
                    <a:pt x="9" y="23"/>
                  </a:lnTo>
                  <a:lnTo>
                    <a:pt x="3" y="27"/>
                  </a:lnTo>
                  <a:lnTo>
                    <a:pt x="0" y="28"/>
                  </a:lnTo>
                  <a:lnTo>
                    <a:pt x="13" y="19"/>
                  </a:lnTo>
                  <a:lnTo>
                    <a:pt x="30" y="1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E8B5B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3" name="Freeform 11"/>
            <p:cNvSpPr>
              <a:spLocks/>
            </p:cNvSpPr>
            <p:nvPr/>
          </p:nvSpPr>
          <p:spPr bwMode="auto">
            <a:xfrm>
              <a:off x="7113588" y="5133975"/>
              <a:ext cx="173038" cy="98425"/>
            </a:xfrm>
            <a:custGeom>
              <a:avLst/>
              <a:gdLst>
                <a:gd name="T0" fmla="*/ 61 w 109"/>
                <a:gd name="T1" fmla="*/ 0 h 62"/>
                <a:gd name="T2" fmla="*/ 10 w 109"/>
                <a:gd name="T3" fmla="*/ 41 h 62"/>
                <a:gd name="T4" fmla="*/ 15 w 109"/>
                <a:gd name="T5" fmla="*/ 41 h 62"/>
                <a:gd name="T6" fmla="*/ 27 w 109"/>
                <a:gd name="T7" fmla="*/ 43 h 62"/>
                <a:gd name="T8" fmla="*/ 44 w 109"/>
                <a:gd name="T9" fmla="*/ 45 h 62"/>
                <a:gd name="T10" fmla="*/ 65 w 109"/>
                <a:gd name="T11" fmla="*/ 49 h 62"/>
                <a:gd name="T12" fmla="*/ 87 w 109"/>
                <a:gd name="T13" fmla="*/ 54 h 62"/>
                <a:gd name="T14" fmla="*/ 109 w 109"/>
                <a:gd name="T15" fmla="*/ 62 h 62"/>
                <a:gd name="T16" fmla="*/ 83 w 109"/>
                <a:gd name="T17" fmla="*/ 54 h 62"/>
                <a:gd name="T18" fmla="*/ 60 w 109"/>
                <a:gd name="T19" fmla="*/ 49 h 62"/>
                <a:gd name="T20" fmla="*/ 37 w 109"/>
                <a:gd name="T21" fmla="*/ 45 h 62"/>
                <a:gd name="T22" fmla="*/ 19 w 109"/>
                <a:gd name="T23" fmla="*/ 43 h 62"/>
                <a:gd name="T24" fmla="*/ 6 w 109"/>
                <a:gd name="T25" fmla="*/ 41 h 62"/>
                <a:gd name="T26" fmla="*/ 0 w 109"/>
                <a:gd name="T27" fmla="*/ 40 h 62"/>
                <a:gd name="T28" fmla="*/ 1 w 109"/>
                <a:gd name="T29" fmla="*/ 40 h 62"/>
                <a:gd name="T30" fmla="*/ 5 w 109"/>
                <a:gd name="T31" fmla="*/ 37 h 62"/>
                <a:gd name="T32" fmla="*/ 10 w 109"/>
                <a:gd name="T33" fmla="*/ 35 h 62"/>
                <a:gd name="T34" fmla="*/ 18 w 109"/>
                <a:gd name="T35" fmla="*/ 30 h 62"/>
                <a:gd name="T36" fmla="*/ 28 w 109"/>
                <a:gd name="T37" fmla="*/ 22 h 62"/>
                <a:gd name="T38" fmla="*/ 43 w 109"/>
                <a:gd name="T39" fmla="*/ 13 h 62"/>
                <a:gd name="T40" fmla="*/ 61 w 109"/>
                <a:gd name="T41" fmla="*/ 0 h 62"/>
                <a:gd name="T42" fmla="*/ 61 w 109"/>
                <a:gd name="T4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9" h="62">
                  <a:moveTo>
                    <a:pt x="61" y="0"/>
                  </a:moveTo>
                  <a:lnTo>
                    <a:pt x="10" y="41"/>
                  </a:lnTo>
                  <a:lnTo>
                    <a:pt x="15" y="41"/>
                  </a:lnTo>
                  <a:lnTo>
                    <a:pt x="27" y="43"/>
                  </a:lnTo>
                  <a:lnTo>
                    <a:pt x="44" y="45"/>
                  </a:lnTo>
                  <a:lnTo>
                    <a:pt x="65" y="49"/>
                  </a:lnTo>
                  <a:lnTo>
                    <a:pt x="87" y="54"/>
                  </a:lnTo>
                  <a:lnTo>
                    <a:pt x="109" y="62"/>
                  </a:lnTo>
                  <a:lnTo>
                    <a:pt x="83" y="54"/>
                  </a:lnTo>
                  <a:lnTo>
                    <a:pt x="60" y="49"/>
                  </a:lnTo>
                  <a:lnTo>
                    <a:pt x="37" y="45"/>
                  </a:lnTo>
                  <a:lnTo>
                    <a:pt x="19" y="43"/>
                  </a:lnTo>
                  <a:lnTo>
                    <a:pt x="6" y="41"/>
                  </a:lnTo>
                  <a:lnTo>
                    <a:pt x="0" y="40"/>
                  </a:lnTo>
                  <a:lnTo>
                    <a:pt x="1" y="40"/>
                  </a:lnTo>
                  <a:lnTo>
                    <a:pt x="5" y="37"/>
                  </a:lnTo>
                  <a:lnTo>
                    <a:pt x="10" y="35"/>
                  </a:lnTo>
                  <a:lnTo>
                    <a:pt x="18" y="30"/>
                  </a:lnTo>
                  <a:lnTo>
                    <a:pt x="28" y="22"/>
                  </a:lnTo>
                  <a:lnTo>
                    <a:pt x="43" y="13"/>
                  </a:lnTo>
                  <a:lnTo>
                    <a:pt x="61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F4E6E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4" name="Freeform 12"/>
            <p:cNvSpPr>
              <a:spLocks/>
            </p:cNvSpPr>
            <p:nvPr/>
          </p:nvSpPr>
          <p:spPr bwMode="auto">
            <a:xfrm>
              <a:off x="5611813" y="5086350"/>
              <a:ext cx="2292350" cy="671512"/>
            </a:xfrm>
            <a:custGeom>
              <a:avLst/>
              <a:gdLst>
                <a:gd name="T0" fmla="*/ 1442 w 1444"/>
                <a:gd name="T1" fmla="*/ 3 h 423"/>
                <a:gd name="T2" fmla="*/ 1422 w 1444"/>
                <a:gd name="T3" fmla="*/ 19 h 423"/>
                <a:gd name="T4" fmla="*/ 1387 w 1444"/>
                <a:gd name="T5" fmla="*/ 51 h 423"/>
                <a:gd name="T6" fmla="*/ 1338 w 1444"/>
                <a:gd name="T7" fmla="*/ 91 h 423"/>
                <a:gd name="T8" fmla="*/ 1278 w 1444"/>
                <a:gd name="T9" fmla="*/ 135 h 423"/>
                <a:gd name="T10" fmla="*/ 1213 w 1444"/>
                <a:gd name="T11" fmla="*/ 179 h 423"/>
                <a:gd name="T12" fmla="*/ 1143 w 1444"/>
                <a:gd name="T13" fmla="*/ 219 h 423"/>
                <a:gd name="T14" fmla="*/ 1074 w 1444"/>
                <a:gd name="T15" fmla="*/ 249 h 423"/>
                <a:gd name="T16" fmla="*/ 998 w 1444"/>
                <a:gd name="T17" fmla="*/ 274 h 423"/>
                <a:gd name="T18" fmla="*/ 938 w 1444"/>
                <a:gd name="T19" fmla="*/ 286 h 423"/>
                <a:gd name="T20" fmla="*/ 885 w 1444"/>
                <a:gd name="T21" fmla="*/ 293 h 423"/>
                <a:gd name="T22" fmla="*/ 828 w 1444"/>
                <a:gd name="T23" fmla="*/ 293 h 423"/>
                <a:gd name="T24" fmla="*/ 758 w 1444"/>
                <a:gd name="T25" fmla="*/ 290 h 423"/>
                <a:gd name="T26" fmla="*/ 665 w 1444"/>
                <a:gd name="T27" fmla="*/ 286 h 423"/>
                <a:gd name="T28" fmla="*/ 597 w 1444"/>
                <a:gd name="T29" fmla="*/ 288 h 423"/>
                <a:gd name="T30" fmla="*/ 485 w 1444"/>
                <a:gd name="T31" fmla="*/ 299 h 423"/>
                <a:gd name="T32" fmla="*/ 364 w 1444"/>
                <a:gd name="T33" fmla="*/ 320 h 423"/>
                <a:gd name="T34" fmla="*/ 244 w 1444"/>
                <a:gd name="T35" fmla="*/ 346 h 423"/>
                <a:gd name="T36" fmla="*/ 131 w 1444"/>
                <a:gd name="T37" fmla="*/ 377 h 423"/>
                <a:gd name="T38" fmla="*/ 37 w 1444"/>
                <a:gd name="T39" fmla="*/ 408 h 423"/>
                <a:gd name="T40" fmla="*/ 28 w 1444"/>
                <a:gd name="T41" fmla="*/ 408 h 423"/>
                <a:gd name="T42" fmla="*/ 100 w 1444"/>
                <a:gd name="T43" fmla="*/ 376 h 423"/>
                <a:gd name="T44" fmla="*/ 174 w 1444"/>
                <a:gd name="T45" fmla="*/ 347 h 423"/>
                <a:gd name="T46" fmla="*/ 303 w 1444"/>
                <a:gd name="T47" fmla="*/ 314 h 423"/>
                <a:gd name="T48" fmla="*/ 433 w 1444"/>
                <a:gd name="T49" fmla="*/ 284 h 423"/>
                <a:gd name="T50" fmla="*/ 527 w 1444"/>
                <a:gd name="T51" fmla="*/ 257 h 423"/>
                <a:gd name="T52" fmla="*/ 604 w 1444"/>
                <a:gd name="T53" fmla="*/ 226 h 423"/>
                <a:gd name="T54" fmla="*/ 685 w 1444"/>
                <a:gd name="T55" fmla="*/ 191 h 423"/>
                <a:gd name="T56" fmla="*/ 755 w 1444"/>
                <a:gd name="T57" fmla="*/ 157 h 423"/>
                <a:gd name="T58" fmla="*/ 838 w 1444"/>
                <a:gd name="T59" fmla="*/ 113 h 423"/>
                <a:gd name="T60" fmla="*/ 952 w 1444"/>
                <a:gd name="T61" fmla="*/ 58 h 423"/>
                <a:gd name="T62" fmla="*/ 989 w 1444"/>
                <a:gd name="T63" fmla="*/ 43 h 423"/>
                <a:gd name="T64" fmla="*/ 964 w 1444"/>
                <a:gd name="T65" fmla="*/ 60 h 423"/>
                <a:gd name="T66" fmla="*/ 951 w 1444"/>
                <a:gd name="T67" fmla="*/ 67 h 423"/>
                <a:gd name="T68" fmla="*/ 946 w 1444"/>
                <a:gd name="T69" fmla="*/ 70 h 423"/>
                <a:gd name="T70" fmla="*/ 965 w 1444"/>
                <a:gd name="T71" fmla="*/ 73 h 423"/>
                <a:gd name="T72" fmla="*/ 1006 w 1444"/>
                <a:gd name="T73" fmla="*/ 79 h 423"/>
                <a:gd name="T74" fmla="*/ 1055 w 1444"/>
                <a:gd name="T75" fmla="*/ 92 h 423"/>
                <a:gd name="T76" fmla="*/ 1074 w 1444"/>
                <a:gd name="T77" fmla="*/ 101 h 423"/>
                <a:gd name="T78" fmla="*/ 1108 w 1444"/>
                <a:gd name="T79" fmla="*/ 118 h 423"/>
                <a:gd name="T80" fmla="*/ 1128 w 1444"/>
                <a:gd name="T81" fmla="*/ 130 h 423"/>
                <a:gd name="T82" fmla="*/ 1133 w 1444"/>
                <a:gd name="T83" fmla="*/ 128 h 423"/>
                <a:gd name="T84" fmla="*/ 1151 w 1444"/>
                <a:gd name="T85" fmla="*/ 115 h 423"/>
                <a:gd name="T86" fmla="*/ 1183 w 1444"/>
                <a:gd name="T87" fmla="*/ 93 h 423"/>
                <a:gd name="T88" fmla="*/ 1224 w 1444"/>
                <a:gd name="T89" fmla="*/ 69 h 423"/>
                <a:gd name="T90" fmla="*/ 1268 w 1444"/>
                <a:gd name="T91" fmla="*/ 45 h 423"/>
                <a:gd name="T92" fmla="*/ 1290 w 1444"/>
                <a:gd name="T93" fmla="*/ 35 h 423"/>
                <a:gd name="T94" fmla="*/ 1333 w 1444"/>
                <a:gd name="T95" fmla="*/ 19 h 423"/>
                <a:gd name="T96" fmla="*/ 1387 w 1444"/>
                <a:gd name="T97" fmla="*/ 8 h 423"/>
                <a:gd name="T98" fmla="*/ 1429 w 1444"/>
                <a:gd name="T99" fmla="*/ 1 h 423"/>
                <a:gd name="T100" fmla="*/ 1444 w 1444"/>
                <a:gd name="T101" fmla="*/ 0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44" h="423">
                  <a:moveTo>
                    <a:pt x="1444" y="0"/>
                  </a:moveTo>
                  <a:lnTo>
                    <a:pt x="1442" y="3"/>
                  </a:lnTo>
                  <a:lnTo>
                    <a:pt x="1434" y="9"/>
                  </a:lnTo>
                  <a:lnTo>
                    <a:pt x="1422" y="19"/>
                  </a:lnTo>
                  <a:lnTo>
                    <a:pt x="1407" y="34"/>
                  </a:lnTo>
                  <a:lnTo>
                    <a:pt x="1387" y="51"/>
                  </a:lnTo>
                  <a:lnTo>
                    <a:pt x="1364" y="70"/>
                  </a:lnTo>
                  <a:lnTo>
                    <a:pt x="1338" y="91"/>
                  </a:lnTo>
                  <a:lnTo>
                    <a:pt x="1309" y="113"/>
                  </a:lnTo>
                  <a:lnTo>
                    <a:pt x="1278" y="135"/>
                  </a:lnTo>
                  <a:lnTo>
                    <a:pt x="1247" y="157"/>
                  </a:lnTo>
                  <a:lnTo>
                    <a:pt x="1213" y="179"/>
                  </a:lnTo>
                  <a:lnTo>
                    <a:pt x="1178" y="200"/>
                  </a:lnTo>
                  <a:lnTo>
                    <a:pt x="1143" y="219"/>
                  </a:lnTo>
                  <a:lnTo>
                    <a:pt x="1108" y="235"/>
                  </a:lnTo>
                  <a:lnTo>
                    <a:pt x="1074" y="249"/>
                  </a:lnTo>
                  <a:lnTo>
                    <a:pt x="1034" y="263"/>
                  </a:lnTo>
                  <a:lnTo>
                    <a:pt x="998" y="274"/>
                  </a:lnTo>
                  <a:lnTo>
                    <a:pt x="967" y="281"/>
                  </a:lnTo>
                  <a:lnTo>
                    <a:pt x="938" y="286"/>
                  </a:lnTo>
                  <a:lnTo>
                    <a:pt x="911" y="290"/>
                  </a:lnTo>
                  <a:lnTo>
                    <a:pt x="885" y="293"/>
                  </a:lnTo>
                  <a:lnTo>
                    <a:pt x="858" y="293"/>
                  </a:lnTo>
                  <a:lnTo>
                    <a:pt x="828" y="293"/>
                  </a:lnTo>
                  <a:lnTo>
                    <a:pt x="794" y="292"/>
                  </a:lnTo>
                  <a:lnTo>
                    <a:pt x="758" y="290"/>
                  </a:lnTo>
                  <a:lnTo>
                    <a:pt x="715" y="288"/>
                  </a:lnTo>
                  <a:lnTo>
                    <a:pt x="665" y="286"/>
                  </a:lnTo>
                  <a:lnTo>
                    <a:pt x="646" y="285"/>
                  </a:lnTo>
                  <a:lnTo>
                    <a:pt x="597" y="288"/>
                  </a:lnTo>
                  <a:lnTo>
                    <a:pt x="543" y="292"/>
                  </a:lnTo>
                  <a:lnTo>
                    <a:pt x="485" y="299"/>
                  </a:lnTo>
                  <a:lnTo>
                    <a:pt x="425" y="309"/>
                  </a:lnTo>
                  <a:lnTo>
                    <a:pt x="364" y="320"/>
                  </a:lnTo>
                  <a:lnTo>
                    <a:pt x="303" y="333"/>
                  </a:lnTo>
                  <a:lnTo>
                    <a:pt x="244" y="346"/>
                  </a:lnTo>
                  <a:lnTo>
                    <a:pt x="185" y="362"/>
                  </a:lnTo>
                  <a:lnTo>
                    <a:pt x="131" y="377"/>
                  </a:lnTo>
                  <a:lnTo>
                    <a:pt x="81" y="393"/>
                  </a:lnTo>
                  <a:lnTo>
                    <a:pt x="37" y="408"/>
                  </a:lnTo>
                  <a:lnTo>
                    <a:pt x="0" y="423"/>
                  </a:lnTo>
                  <a:lnTo>
                    <a:pt x="28" y="408"/>
                  </a:lnTo>
                  <a:lnTo>
                    <a:pt x="63" y="391"/>
                  </a:lnTo>
                  <a:lnTo>
                    <a:pt x="100" y="376"/>
                  </a:lnTo>
                  <a:lnTo>
                    <a:pt x="136" y="360"/>
                  </a:lnTo>
                  <a:lnTo>
                    <a:pt x="174" y="347"/>
                  </a:lnTo>
                  <a:lnTo>
                    <a:pt x="238" y="331"/>
                  </a:lnTo>
                  <a:lnTo>
                    <a:pt x="303" y="314"/>
                  </a:lnTo>
                  <a:lnTo>
                    <a:pt x="370" y="299"/>
                  </a:lnTo>
                  <a:lnTo>
                    <a:pt x="433" y="284"/>
                  </a:lnTo>
                  <a:lnTo>
                    <a:pt x="490" y="268"/>
                  </a:lnTo>
                  <a:lnTo>
                    <a:pt x="527" y="257"/>
                  </a:lnTo>
                  <a:lnTo>
                    <a:pt x="564" y="242"/>
                  </a:lnTo>
                  <a:lnTo>
                    <a:pt x="604" y="226"/>
                  </a:lnTo>
                  <a:lnTo>
                    <a:pt x="645" y="209"/>
                  </a:lnTo>
                  <a:lnTo>
                    <a:pt x="685" y="191"/>
                  </a:lnTo>
                  <a:lnTo>
                    <a:pt x="723" y="174"/>
                  </a:lnTo>
                  <a:lnTo>
                    <a:pt x="755" y="157"/>
                  </a:lnTo>
                  <a:lnTo>
                    <a:pt x="785" y="141"/>
                  </a:lnTo>
                  <a:lnTo>
                    <a:pt x="838" y="113"/>
                  </a:lnTo>
                  <a:lnTo>
                    <a:pt x="895" y="86"/>
                  </a:lnTo>
                  <a:lnTo>
                    <a:pt x="952" y="58"/>
                  </a:lnTo>
                  <a:lnTo>
                    <a:pt x="1007" y="30"/>
                  </a:lnTo>
                  <a:lnTo>
                    <a:pt x="989" y="43"/>
                  </a:lnTo>
                  <a:lnTo>
                    <a:pt x="974" y="52"/>
                  </a:lnTo>
                  <a:lnTo>
                    <a:pt x="964" y="60"/>
                  </a:lnTo>
                  <a:lnTo>
                    <a:pt x="956" y="65"/>
                  </a:lnTo>
                  <a:lnTo>
                    <a:pt x="951" y="67"/>
                  </a:lnTo>
                  <a:lnTo>
                    <a:pt x="947" y="70"/>
                  </a:lnTo>
                  <a:lnTo>
                    <a:pt x="946" y="70"/>
                  </a:lnTo>
                  <a:lnTo>
                    <a:pt x="952" y="71"/>
                  </a:lnTo>
                  <a:lnTo>
                    <a:pt x="965" y="73"/>
                  </a:lnTo>
                  <a:lnTo>
                    <a:pt x="983" y="75"/>
                  </a:lnTo>
                  <a:lnTo>
                    <a:pt x="1006" y="79"/>
                  </a:lnTo>
                  <a:lnTo>
                    <a:pt x="1029" y="84"/>
                  </a:lnTo>
                  <a:lnTo>
                    <a:pt x="1055" y="92"/>
                  </a:lnTo>
                  <a:lnTo>
                    <a:pt x="1055" y="92"/>
                  </a:lnTo>
                  <a:lnTo>
                    <a:pt x="1074" y="101"/>
                  </a:lnTo>
                  <a:lnTo>
                    <a:pt x="1093" y="110"/>
                  </a:lnTo>
                  <a:lnTo>
                    <a:pt x="1108" y="118"/>
                  </a:lnTo>
                  <a:lnTo>
                    <a:pt x="1120" y="124"/>
                  </a:lnTo>
                  <a:lnTo>
                    <a:pt x="1128" y="130"/>
                  </a:lnTo>
                  <a:lnTo>
                    <a:pt x="1130" y="131"/>
                  </a:lnTo>
                  <a:lnTo>
                    <a:pt x="1133" y="128"/>
                  </a:lnTo>
                  <a:lnTo>
                    <a:pt x="1139" y="123"/>
                  </a:lnTo>
                  <a:lnTo>
                    <a:pt x="1151" y="115"/>
                  </a:lnTo>
                  <a:lnTo>
                    <a:pt x="1165" y="105"/>
                  </a:lnTo>
                  <a:lnTo>
                    <a:pt x="1183" y="93"/>
                  </a:lnTo>
                  <a:lnTo>
                    <a:pt x="1203" y="82"/>
                  </a:lnTo>
                  <a:lnTo>
                    <a:pt x="1224" y="69"/>
                  </a:lnTo>
                  <a:lnTo>
                    <a:pt x="1246" y="56"/>
                  </a:lnTo>
                  <a:lnTo>
                    <a:pt x="1268" y="45"/>
                  </a:lnTo>
                  <a:lnTo>
                    <a:pt x="1290" y="35"/>
                  </a:lnTo>
                  <a:lnTo>
                    <a:pt x="1290" y="35"/>
                  </a:lnTo>
                  <a:lnTo>
                    <a:pt x="1304" y="30"/>
                  </a:lnTo>
                  <a:lnTo>
                    <a:pt x="1333" y="19"/>
                  </a:lnTo>
                  <a:lnTo>
                    <a:pt x="1361" y="13"/>
                  </a:lnTo>
                  <a:lnTo>
                    <a:pt x="1387" y="8"/>
                  </a:lnTo>
                  <a:lnTo>
                    <a:pt x="1411" y="4"/>
                  </a:lnTo>
                  <a:lnTo>
                    <a:pt x="1429" y="1"/>
                  </a:lnTo>
                  <a:lnTo>
                    <a:pt x="1440" y="0"/>
                  </a:lnTo>
                  <a:lnTo>
                    <a:pt x="1444" y="0"/>
                  </a:lnTo>
                  <a:close/>
                </a:path>
              </a:pathLst>
            </a:custGeom>
            <a:solidFill>
              <a:srgbClr val="DDC9AB">
                <a:lumMod val="50000"/>
                <a:alpha val="10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5" name="Freeform 13"/>
            <p:cNvSpPr>
              <a:spLocks noEditPoints="1"/>
            </p:cNvSpPr>
            <p:nvPr/>
          </p:nvSpPr>
          <p:spPr bwMode="auto">
            <a:xfrm>
              <a:off x="5303838" y="6129338"/>
              <a:ext cx="1401763" cy="88900"/>
            </a:xfrm>
            <a:custGeom>
              <a:avLst/>
              <a:gdLst>
                <a:gd name="T0" fmla="*/ 883 w 883"/>
                <a:gd name="T1" fmla="*/ 55 h 56"/>
                <a:gd name="T2" fmla="*/ 859 w 883"/>
                <a:gd name="T3" fmla="*/ 56 h 56"/>
                <a:gd name="T4" fmla="*/ 859 w 883"/>
                <a:gd name="T5" fmla="*/ 56 h 56"/>
                <a:gd name="T6" fmla="*/ 883 w 883"/>
                <a:gd name="T7" fmla="*/ 55 h 56"/>
                <a:gd name="T8" fmla="*/ 183 w 883"/>
                <a:gd name="T9" fmla="*/ 0 h 56"/>
                <a:gd name="T10" fmla="*/ 273 w 883"/>
                <a:gd name="T11" fmla="*/ 3 h 56"/>
                <a:gd name="T12" fmla="*/ 362 w 883"/>
                <a:gd name="T13" fmla="*/ 9 h 56"/>
                <a:gd name="T14" fmla="*/ 451 w 883"/>
                <a:gd name="T15" fmla="*/ 18 h 56"/>
                <a:gd name="T16" fmla="*/ 538 w 883"/>
                <a:gd name="T17" fmla="*/ 29 h 56"/>
                <a:gd name="T18" fmla="*/ 605 w 883"/>
                <a:gd name="T19" fmla="*/ 36 h 56"/>
                <a:gd name="T20" fmla="*/ 669 w 883"/>
                <a:gd name="T21" fmla="*/ 44 h 56"/>
                <a:gd name="T22" fmla="*/ 728 w 883"/>
                <a:gd name="T23" fmla="*/ 51 h 56"/>
                <a:gd name="T24" fmla="*/ 784 w 883"/>
                <a:gd name="T25" fmla="*/ 55 h 56"/>
                <a:gd name="T26" fmla="*/ 834 w 883"/>
                <a:gd name="T27" fmla="*/ 56 h 56"/>
                <a:gd name="T28" fmla="*/ 859 w 883"/>
                <a:gd name="T29" fmla="*/ 56 h 56"/>
                <a:gd name="T30" fmla="*/ 858 w 883"/>
                <a:gd name="T31" fmla="*/ 56 h 56"/>
                <a:gd name="T32" fmla="*/ 834 w 883"/>
                <a:gd name="T33" fmla="*/ 56 h 56"/>
                <a:gd name="T34" fmla="*/ 783 w 883"/>
                <a:gd name="T35" fmla="*/ 55 h 56"/>
                <a:gd name="T36" fmla="*/ 727 w 883"/>
                <a:gd name="T37" fmla="*/ 51 h 56"/>
                <a:gd name="T38" fmla="*/ 666 w 883"/>
                <a:gd name="T39" fmla="*/ 44 h 56"/>
                <a:gd name="T40" fmla="*/ 601 w 883"/>
                <a:gd name="T41" fmla="*/ 38 h 56"/>
                <a:gd name="T42" fmla="*/ 534 w 883"/>
                <a:gd name="T43" fmla="*/ 30 h 56"/>
                <a:gd name="T44" fmla="*/ 447 w 883"/>
                <a:gd name="T45" fmla="*/ 20 h 56"/>
                <a:gd name="T46" fmla="*/ 356 w 883"/>
                <a:gd name="T47" fmla="*/ 11 h 56"/>
                <a:gd name="T48" fmla="*/ 265 w 883"/>
                <a:gd name="T49" fmla="*/ 5 h 56"/>
                <a:gd name="T50" fmla="*/ 175 w 883"/>
                <a:gd name="T51" fmla="*/ 3 h 56"/>
                <a:gd name="T52" fmla="*/ 116 w 883"/>
                <a:gd name="T53" fmla="*/ 4 h 56"/>
                <a:gd name="T54" fmla="*/ 57 w 883"/>
                <a:gd name="T55" fmla="*/ 8 h 56"/>
                <a:gd name="T56" fmla="*/ 0 w 883"/>
                <a:gd name="T57" fmla="*/ 14 h 56"/>
                <a:gd name="T58" fmla="*/ 60 w 883"/>
                <a:gd name="T59" fmla="*/ 7 h 56"/>
                <a:gd name="T60" fmla="*/ 121 w 883"/>
                <a:gd name="T61" fmla="*/ 1 h 56"/>
                <a:gd name="T62" fmla="*/ 183 w 883"/>
                <a:gd name="T6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83" h="56">
                  <a:moveTo>
                    <a:pt x="883" y="55"/>
                  </a:moveTo>
                  <a:lnTo>
                    <a:pt x="859" y="56"/>
                  </a:lnTo>
                  <a:lnTo>
                    <a:pt x="859" y="56"/>
                  </a:lnTo>
                  <a:lnTo>
                    <a:pt x="883" y="55"/>
                  </a:lnTo>
                  <a:close/>
                  <a:moveTo>
                    <a:pt x="183" y="0"/>
                  </a:moveTo>
                  <a:lnTo>
                    <a:pt x="273" y="3"/>
                  </a:lnTo>
                  <a:lnTo>
                    <a:pt x="362" y="9"/>
                  </a:lnTo>
                  <a:lnTo>
                    <a:pt x="451" y="18"/>
                  </a:lnTo>
                  <a:lnTo>
                    <a:pt x="538" y="29"/>
                  </a:lnTo>
                  <a:lnTo>
                    <a:pt x="605" y="36"/>
                  </a:lnTo>
                  <a:lnTo>
                    <a:pt x="669" y="44"/>
                  </a:lnTo>
                  <a:lnTo>
                    <a:pt x="728" y="51"/>
                  </a:lnTo>
                  <a:lnTo>
                    <a:pt x="784" y="55"/>
                  </a:lnTo>
                  <a:lnTo>
                    <a:pt x="834" y="56"/>
                  </a:lnTo>
                  <a:lnTo>
                    <a:pt x="859" y="56"/>
                  </a:lnTo>
                  <a:lnTo>
                    <a:pt x="858" y="56"/>
                  </a:lnTo>
                  <a:lnTo>
                    <a:pt x="834" y="56"/>
                  </a:lnTo>
                  <a:lnTo>
                    <a:pt x="783" y="55"/>
                  </a:lnTo>
                  <a:lnTo>
                    <a:pt x="727" y="51"/>
                  </a:lnTo>
                  <a:lnTo>
                    <a:pt x="666" y="44"/>
                  </a:lnTo>
                  <a:lnTo>
                    <a:pt x="601" y="38"/>
                  </a:lnTo>
                  <a:lnTo>
                    <a:pt x="534" y="30"/>
                  </a:lnTo>
                  <a:lnTo>
                    <a:pt x="447" y="20"/>
                  </a:lnTo>
                  <a:lnTo>
                    <a:pt x="356" y="11"/>
                  </a:lnTo>
                  <a:lnTo>
                    <a:pt x="265" y="5"/>
                  </a:lnTo>
                  <a:lnTo>
                    <a:pt x="175" y="3"/>
                  </a:lnTo>
                  <a:lnTo>
                    <a:pt x="116" y="4"/>
                  </a:lnTo>
                  <a:lnTo>
                    <a:pt x="57" y="8"/>
                  </a:lnTo>
                  <a:lnTo>
                    <a:pt x="0" y="14"/>
                  </a:lnTo>
                  <a:lnTo>
                    <a:pt x="60" y="7"/>
                  </a:lnTo>
                  <a:lnTo>
                    <a:pt x="121" y="1"/>
                  </a:lnTo>
                  <a:lnTo>
                    <a:pt x="183" y="0"/>
                  </a:lnTo>
                  <a:close/>
                </a:path>
              </a:pathLst>
            </a:custGeom>
            <a:solidFill>
              <a:srgbClr val="FAF2E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6" name="Freeform 14"/>
            <p:cNvSpPr>
              <a:spLocks/>
            </p:cNvSpPr>
            <p:nvPr/>
          </p:nvSpPr>
          <p:spPr bwMode="auto">
            <a:xfrm>
              <a:off x="3952875" y="5494338"/>
              <a:ext cx="3527425" cy="1363662"/>
            </a:xfrm>
            <a:custGeom>
              <a:avLst/>
              <a:gdLst>
                <a:gd name="T0" fmla="*/ 246 w 2222"/>
                <a:gd name="T1" fmla="*/ 5 h 859"/>
                <a:gd name="T2" fmla="*/ 393 w 2222"/>
                <a:gd name="T3" fmla="*/ 29 h 859"/>
                <a:gd name="T4" fmla="*/ 601 w 2222"/>
                <a:gd name="T5" fmla="*/ 70 h 859"/>
                <a:gd name="T6" fmla="*/ 771 w 2222"/>
                <a:gd name="T7" fmla="*/ 107 h 859"/>
                <a:gd name="T8" fmla="*/ 842 w 2222"/>
                <a:gd name="T9" fmla="*/ 136 h 859"/>
                <a:gd name="T10" fmla="*/ 867 w 2222"/>
                <a:gd name="T11" fmla="*/ 163 h 859"/>
                <a:gd name="T12" fmla="*/ 866 w 2222"/>
                <a:gd name="T13" fmla="*/ 185 h 859"/>
                <a:gd name="T14" fmla="*/ 867 w 2222"/>
                <a:gd name="T15" fmla="*/ 204 h 859"/>
                <a:gd name="T16" fmla="*/ 893 w 2222"/>
                <a:gd name="T17" fmla="*/ 219 h 859"/>
                <a:gd name="T18" fmla="*/ 969 w 2222"/>
                <a:gd name="T19" fmla="*/ 229 h 859"/>
                <a:gd name="T20" fmla="*/ 1189 w 2222"/>
                <a:gd name="T21" fmla="*/ 243 h 859"/>
                <a:gd name="T22" fmla="*/ 1422 w 2222"/>
                <a:gd name="T23" fmla="*/ 272 h 859"/>
                <a:gd name="T24" fmla="*/ 1633 w 2222"/>
                <a:gd name="T25" fmla="*/ 300 h 859"/>
                <a:gd name="T26" fmla="*/ 1823 w 2222"/>
                <a:gd name="T27" fmla="*/ 315 h 859"/>
                <a:gd name="T28" fmla="*/ 1997 w 2222"/>
                <a:gd name="T29" fmla="*/ 309 h 859"/>
                <a:gd name="T30" fmla="*/ 2165 w 2222"/>
                <a:gd name="T31" fmla="*/ 281 h 859"/>
                <a:gd name="T32" fmla="*/ 2206 w 2222"/>
                <a:gd name="T33" fmla="*/ 272 h 859"/>
                <a:gd name="T34" fmla="*/ 2112 w 2222"/>
                <a:gd name="T35" fmla="*/ 319 h 859"/>
                <a:gd name="T36" fmla="*/ 1966 w 2222"/>
                <a:gd name="T37" fmla="*/ 389 h 859"/>
                <a:gd name="T38" fmla="*/ 1796 w 2222"/>
                <a:gd name="T39" fmla="*/ 444 h 859"/>
                <a:gd name="T40" fmla="*/ 1685 w 2222"/>
                <a:gd name="T41" fmla="*/ 456 h 859"/>
                <a:gd name="T42" fmla="*/ 1520 w 2222"/>
                <a:gd name="T43" fmla="*/ 444 h 859"/>
                <a:gd name="T44" fmla="*/ 1302 w 2222"/>
                <a:gd name="T45" fmla="*/ 418 h 859"/>
                <a:gd name="T46" fmla="*/ 1034 w 2222"/>
                <a:gd name="T47" fmla="*/ 400 h 859"/>
                <a:gd name="T48" fmla="*/ 851 w 2222"/>
                <a:gd name="T49" fmla="*/ 414 h 859"/>
                <a:gd name="T50" fmla="*/ 694 w 2222"/>
                <a:gd name="T51" fmla="*/ 456 h 859"/>
                <a:gd name="T52" fmla="*/ 496 w 2222"/>
                <a:gd name="T53" fmla="*/ 539 h 859"/>
                <a:gd name="T54" fmla="*/ 346 w 2222"/>
                <a:gd name="T55" fmla="*/ 649 h 859"/>
                <a:gd name="T56" fmla="*/ 237 w 2222"/>
                <a:gd name="T57" fmla="*/ 798 h 859"/>
                <a:gd name="T58" fmla="*/ 1 w 2222"/>
                <a:gd name="T59" fmla="*/ 856 h 859"/>
                <a:gd name="T60" fmla="*/ 26 w 2222"/>
                <a:gd name="T61" fmla="*/ 814 h 859"/>
                <a:gd name="T62" fmla="*/ 76 w 2222"/>
                <a:gd name="T63" fmla="*/ 737 h 859"/>
                <a:gd name="T64" fmla="*/ 152 w 2222"/>
                <a:gd name="T65" fmla="*/ 648 h 859"/>
                <a:gd name="T66" fmla="*/ 252 w 2222"/>
                <a:gd name="T67" fmla="*/ 566 h 859"/>
                <a:gd name="T68" fmla="*/ 370 w 2222"/>
                <a:gd name="T69" fmla="*/ 509 h 859"/>
                <a:gd name="T70" fmla="*/ 466 w 2222"/>
                <a:gd name="T71" fmla="*/ 455 h 859"/>
                <a:gd name="T72" fmla="*/ 529 w 2222"/>
                <a:gd name="T73" fmla="*/ 398 h 859"/>
                <a:gd name="T74" fmla="*/ 551 w 2222"/>
                <a:gd name="T75" fmla="*/ 343 h 859"/>
                <a:gd name="T76" fmla="*/ 525 w 2222"/>
                <a:gd name="T77" fmla="*/ 303 h 859"/>
                <a:gd name="T78" fmla="*/ 442 w 2222"/>
                <a:gd name="T79" fmla="*/ 282 h 859"/>
                <a:gd name="T80" fmla="*/ 315 w 2222"/>
                <a:gd name="T81" fmla="*/ 247 h 859"/>
                <a:gd name="T82" fmla="*/ 218 w 2222"/>
                <a:gd name="T83" fmla="*/ 180 h 859"/>
                <a:gd name="T84" fmla="*/ 154 w 2222"/>
                <a:gd name="T85" fmla="*/ 101 h 859"/>
                <a:gd name="T86" fmla="*/ 126 w 2222"/>
                <a:gd name="T87" fmla="*/ 36 h 859"/>
                <a:gd name="T88" fmla="*/ 140 w 2222"/>
                <a:gd name="T89" fmla="*/ 5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22" h="859">
                  <a:moveTo>
                    <a:pt x="180" y="0"/>
                  </a:moveTo>
                  <a:lnTo>
                    <a:pt x="210" y="1"/>
                  </a:lnTo>
                  <a:lnTo>
                    <a:pt x="246" y="5"/>
                  </a:lnTo>
                  <a:lnTo>
                    <a:pt x="289" y="11"/>
                  </a:lnTo>
                  <a:lnTo>
                    <a:pt x="339" y="19"/>
                  </a:lnTo>
                  <a:lnTo>
                    <a:pt x="393" y="29"/>
                  </a:lnTo>
                  <a:lnTo>
                    <a:pt x="455" y="41"/>
                  </a:lnTo>
                  <a:lnTo>
                    <a:pt x="524" y="55"/>
                  </a:lnTo>
                  <a:lnTo>
                    <a:pt x="601" y="70"/>
                  </a:lnTo>
                  <a:lnTo>
                    <a:pt x="682" y="87"/>
                  </a:lnTo>
                  <a:lnTo>
                    <a:pt x="731" y="97"/>
                  </a:lnTo>
                  <a:lnTo>
                    <a:pt x="771" y="107"/>
                  </a:lnTo>
                  <a:lnTo>
                    <a:pt x="801" y="118"/>
                  </a:lnTo>
                  <a:lnTo>
                    <a:pt x="825" y="127"/>
                  </a:lnTo>
                  <a:lnTo>
                    <a:pt x="842" y="136"/>
                  </a:lnTo>
                  <a:lnTo>
                    <a:pt x="855" y="145"/>
                  </a:lnTo>
                  <a:lnTo>
                    <a:pt x="862" y="154"/>
                  </a:lnTo>
                  <a:lnTo>
                    <a:pt x="867" y="163"/>
                  </a:lnTo>
                  <a:lnTo>
                    <a:pt x="868" y="171"/>
                  </a:lnTo>
                  <a:lnTo>
                    <a:pt x="867" y="179"/>
                  </a:lnTo>
                  <a:lnTo>
                    <a:pt x="866" y="185"/>
                  </a:lnTo>
                  <a:lnTo>
                    <a:pt x="866" y="192"/>
                  </a:lnTo>
                  <a:lnTo>
                    <a:pt x="866" y="198"/>
                  </a:lnTo>
                  <a:lnTo>
                    <a:pt x="867" y="204"/>
                  </a:lnTo>
                  <a:lnTo>
                    <a:pt x="872" y="210"/>
                  </a:lnTo>
                  <a:lnTo>
                    <a:pt x="880" y="215"/>
                  </a:lnTo>
                  <a:lnTo>
                    <a:pt x="893" y="219"/>
                  </a:lnTo>
                  <a:lnTo>
                    <a:pt x="912" y="223"/>
                  </a:lnTo>
                  <a:lnTo>
                    <a:pt x="937" y="226"/>
                  </a:lnTo>
                  <a:lnTo>
                    <a:pt x="969" y="229"/>
                  </a:lnTo>
                  <a:lnTo>
                    <a:pt x="1011" y="232"/>
                  </a:lnTo>
                  <a:lnTo>
                    <a:pt x="1103" y="237"/>
                  </a:lnTo>
                  <a:lnTo>
                    <a:pt x="1189" y="243"/>
                  </a:lnTo>
                  <a:lnTo>
                    <a:pt x="1270" y="252"/>
                  </a:lnTo>
                  <a:lnTo>
                    <a:pt x="1348" y="261"/>
                  </a:lnTo>
                  <a:lnTo>
                    <a:pt x="1422" y="272"/>
                  </a:lnTo>
                  <a:lnTo>
                    <a:pt x="1495" y="282"/>
                  </a:lnTo>
                  <a:lnTo>
                    <a:pt x="1564" y="291"/>
                  </a:lnTo>
                  <a:lnTo>
                    <a:pt x="1633" y="300"/>
                  </a:lnTo>
                  <a:lnTo>
                    <a:pt x="1701" y="307"/>
                  </a:lnTo>
                  <a:lnTo>
                    <a:pt x="1770" y="312"/>
                  </a:lnTo>
                  <a:lnTo>
                    <a:pt x="1823" y="315"/>
                  </a:lnTo>
                  <a:lnTo>
                    <a:pt x="1873" y="316"/>
                  </a:lnTo>
                  <a:lnTo>
                    <a:pt x="1936" y="315"/>
                  </a:lnTo>
                  <a:lnTo>
                    <a:pt x="1997" y="309"/>
                  </a:lnTo>
                  <a:lnTo>
                    <a:pt x="2054" y="303"/>
                  </a:lnTo>
                  <a:lnTo>
                    <a:pt x="2110" y="293"/>
                  </a:lnTo>
                  <a:lnTo>
                    <a:pt x="2165" y="281"/>
                  </a:lnTo>
                  <a:lnTo>
                    <a:pt x="2222" y="265"/>
                  </a:lnTo>
                  <a:lnTo>
                    <a:pt x="2214" y="269"/>
                  </a:lnTo>
                  <a:lnTo>
                    <a:pt x="2206" y="272"/>
                  </a:lnTo>
                  <a:lnTo>
                    <a:pt x="2180" y="284"/>
                  </a:lnTo>
                  <a:lnTo>
                    <a:pt x="2153" y="296"/>
                  </a:lnTo>
                  <a:lnTo>
                    <a:pt x="2112" y="319"/>
                  </a:lnTo>
                  <a:lnTo>
                    <a:pt x="2066" y="342"/>
                  </a:lnTo>
                  <a:lnTo>
                    <a:pt x="2018" y="365"/>
                  </a:lnTo>
                  <a:lnTo>
                    <a:pt x="1966" y="389"/>
                  </a:lnTo>
                  <a:lnTo>
                    <a:pt x="1913" y="411"/>
                  </a:lnTo>
                  <a:lnTo>
                    <a:pt x="1856" y="430"/>
                  </a:lnTo>
                  <a:lnTo>
                    <a:pt x="1796" y="444"/>
                  </a:lnTo>
                  <a:lnTo>
                    <a:pt x="1734" y="455"/>
                  </a:lnTo>
                  <a:lnTo>
                    <a:pt x="1710" y="456"/>
                  </a:lnTo>
                  <a:lnTo>
                    <a:pt x="1685" y="456"/>
                  </a:lnTo>
                  <a:lnTo>
                    <a:pt x="1635" y="455"/>
                  </a:lnTo>
                  <a:lnTo>
                    <a:pt x="1579" y="451"/>
                  </a:lnTo>
                  <a:lnTo>
                    <a:pt x="1520" y="444"/>
                  </a:lnTo>
                  <a:lnTo>
                    <a:pt x="1456" y="436"/>
                  </a:lnTo>
                  <a:lnTo>
                    <a:pt x="1389" y="429"/>
                  </a:lnTo>
                  <a:lnTo>
                    <a:pt x="1302" y="418"/>
                  </a:lnTo>
                  <a:lnTo>
                    <a:pt x="1213" y="409"/>
                  </a:lnTo>
                  <a:lnTo>
                    <a:pt x="1124" y="403"/>
                  </a:lnTo>
                  <a:lnTo>
                    <a:pt x="1034" y="400"/>
                  </a:lnTo>
                  <a:lnTo>
                    <a:pt x="972" y="401"/>
                  </a:lnTo>
                  <a:lnTo>
                    <a:pt x="911" y="407"/>
                  </a:lnTo>
                  <a:lnTo>
                    <a:pt x="851" y="414"/>
                  </a:lnTo>
                  <a:lnTo>
                    <a:pt x="811" y="422"/>
                  </a:lnTo>
                  <a:lnTo>
                    <a:pt x="772" y="431"/>
                  </a:lnTo>
                  <a:lnTo>
                    <a:pt x="694" y="456"/>
                  </a:lnTo>
                  <a:lnTo>
                    <a:pt x="621" y="481"/>
                  </a:lnTo>
                  <a:lnTo>
                    <a:pt x="555" y="509"/>
                  </a:lnTo>
                  <a:lnTo>
                    <a:pt x="496" y="539"/>
                  </a:lnTo>
                  <a:lnTo>
                    <a:pt x="441" y="573"/>
                  </a:lnTo>
                  <a:lnTo>
                    <a:pt x="390" y="609"/>
                  </a:lnTo>
                  <a:lnTo>
                    <a:pt x="346" y="649"/>
                  </a:lnTo>
                  <a:lnTo>
                    <a:pt x="306" y="694"/>
                  </a:lnTo>
                  <a:lnTo>
                    <a:pt x="270" y="744"/>
                  </a:lnTo>
                  <a:lnTo>
                    <a:pt x="237" y="798"/>
                  </a:lnTo>
                  <a:lnTo>
                    <a:pt x="210" y="859"/>
                  </a:lnTo>
                  <a:lnTo>
                    <a:pt x="0" y="859"/>
                  </a:lnTo>
                  <a:lnTo>
                    <a:pt x="1" y="856"/>
                  </a:lnTo>
                  <a:lnTo>
                    <a:pt x="6" y="847"/>
                  </a:lnTo>
                  <a:lnTo>
                    <a:pt x="14" y="832"/>
                  </a:lnTo>
                  <a:lnTo>
                    <a:pt x="26" y="814"/>
                  </a:lnTo>
                  <a:lnTo>
                    <a:pt x="39" y="790"/>
                  </a:lnTo>
                  <a:lnTo>
                    <a:pt x="56" y="764"/>
                  </a:lnTo>
                  <a:lnTo>
                    <a:pt x="76" y="737"/>
                  </a:lnTo>
                  <a:lnTo>
                    <a:pt x="98" y="707"/>
                  </a:lnTo>
                  <a:lnTo>
                    <a:pt x="124" y="678"/>
                  </a:lnTo>
                  <a:lnTo>
                    <a:pt x="152" y="648"/>
                  </a:lnTo>
                  <a:lnTo>
                    <a:pt x="183" y="619"/>
                  </a:lnTo>
                  <a:lnTo>
                    <a:pt x="217" y="591"/>
                  </a:lnTo>
                  <a:lnTo>
                    <a:pt x="252" y="566"/>
                  </a:lnTo>
                  <a:lnTo>
                    <a:pt x="291" y="544"/>
                  </a:lnTo>
                  <a:lnTo>
                    <a:pt x="331" y="525"/>
                  </a:lnTo>
                  <a:lnTo>
                    <a:pt x="370" y="509"/>
                  </a:lnTo>
                  <a:lnTo>
                    <a:pt x="405" y="492"/>
                  </a:lnTo>
                  <a:lnTo>
                    <a:pt x="437" y="474"/>
                  </a:lnTo>
                  <a:lnTo>
                    <a:pt x="466" y="455"/>
                  </a:lnTo>
                  <a:lnTo>
                    <a:pt x="490" y="435"/>
                  </a:lnTo>
                  <a:lnTo>
                    <a:pt x="512" y="416"/>
                  </a:lnTo>
                  <a:lnTo>
                    <a:pt x="529" y="398"/>
                  </a:lnTo>
                  <a:lnTo>
                    <a:pt x="541" y="378"/>
                  </a:lnTo>
                  <a:lnTo>
                    <a:pt x="549" y="360"/>
                  </a:lnTo>
                  <a:lnTo>
                    <a:pt x="551" y="343"/>
                  </a:lnTo>
                  <a:lnTo>
                    <a:pt x="549" y="328"/>
                  </a:lnTo>
                  <a:lnTo>
                    <a:pt x="540" y="315"/>
                  </a:lnTo>
                  <a:lnTo>
                    <a:pt x="525" y="303"/>
                  </a:lnTo>
                  <a:lnTo>
                    <a:pt x="505" y="293"/>
                  </a:lnTo>
                  <a:lnTo>
                    <a:pt x="477" y="286"/>
                  </a:lnTo>
                  <a:lnTo>
                    <a:pt x="442" y="282"/>
                  </a:lnTo>
                  <a:lnTo>
                    <a:pt x="397" y="276"/>
                  </a:lnTo>
                  <a:lnTo>
                    <a:pt x="355" y="264"/>
                  </a:lnTo>
                  <a:lnTo>
                    <a:pt x="315" y="247"/>
                  </a:lnTo>
                  <a:lnTo>
                    <a:pt x="280" y="228"/>
                  </a:lnTo>
                  <a:lnTo>
                    <a:pt x="248" y="204"/>
                  </a:lnTo>
                  <a:lnTo>
                    <a:pt x="218" y="180"/>
                  </a:lnTo>
                  <a:lnTo>
                    <a:pt x="193" y="153"/>
                  </a:lnTo>
                  <a:lnTo>
                    <a:pt x="171" y="127"/>
                  </a:lnTo>
                  <a:lnTo>
                    <a:pt x="154" y="101"/>
                  </a:lnTo>
                  <a:lnTo>
                    <a:pt x="140" y="76"/>
                  </a:lnTo>
                  <a:lnTo>
                    <a:pt x="131" y="55"/>
                  </a:lnTo>
                  <a:lnTo>
                    <a:pt x="126" y="36"/>
                  </a:lnTo>
                  <a:lnTo>
                    <a:pt x="124" y="22"/>
                  </a:lnTo>
                  <a:lnTo>
                    <a:pt x="130" y="13"/>
                  </a:lnTo>
                  <a:lnTo>
                    <a:pt x="140" y="5"/>
                  </a:lnTo>
                  <a:lnTo>
                    <a:pt x="157" y="1"/>
                  </a:lnTo>
                  <a:lnTo>
                    <a:pt x="180" y="0"/>
                  </a:lnTo>
                  <a:close/>
                </a:path>
              </a:pathLst>
            </a:custGeom>
            <a:solidFill>
              <a:srgbClr val="DDC9AB">
                <a:lumMod val="50000"/>
                <a:alpha val="3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7" name="Freeform 15"/>
            <p:cNvSpPr>
              <a:spLocks/>
            </p:cNvSpPr>
            <p:nvPr/>
          </p:nvSpPr>
          <p:spPr bwMode="auto">
            <a:xfrm>
              <a:off x="6783388" y="4654550"/>
              <a:ext cx="615950" cy="503237"/>
            </a:xfrm>
            <a:custGeom>
              <a:avLst/>
              <a:gdLst>
                <a:gd name="T0" fmla="*/ 227 w 388"/>
                <a:gd name="T1" fmla="*/ 0 h 317"/>
                <a:gd name="T2" fmla="*/ 248 w 388"/>
                <a:gd name="T3" fmla="*/ 2 h 317"/>
                <a:gd name="T4" fmla="*/ 269 w 388"/>
                <a:gd name="T5" fmla="*/ 9 h 317"/>
                <a:gd name="T6" fmla="*/ 291 w 388"/>
                <a:gd name="T7" fmla="*/ 18 h 317"/>
                <a:gd name="T8" fmla="*/ 312 w 388"/>
                <a:gd name="T9" fmla="*/ 32 h 317"/>
                <a:gd name="T10" fmla="*/ 331 w 388"/>
                <a:gd name="T11" fmla="*/ 48 h 317"/>
                <a:gd name="T12" fmla="*/ 349 w 388"/>
                <a:gd name="T13" fmla="*/ 66 h 317"/>
                <a:gd name="T14" fmla="*/ 364 w 388"/>
                <a:gd name="T15" fmla="*/ 87 h 317"/>
                <a:gd name="T16" fmla="*/ 377 w 388"/>
                <a:gd name="T17" fmla="*/ 107 h 317"/>
                <a:gd name="T18" fmla="*/ 384 w 388"/>
                <a:gd name="T19" fmla="*/ 129 h 317"/>
                <a:gd name="T20" fmla="*/ 388 w 388"/>
                <a:gd name="T21" fmla="*/ 153 h 317"/>
                <a:gd name="T22" fmla="*/ 387 w 388"/>
                <a:gd name="T23" fmla="*/ 174 h 317"/>
                <a:gd name="T24" fmla="*/ 379 w 388"/>
                <a:gd name="T25" fmla="*/ 196 h 317"/>
                <a:gd name="T26" fmla="*/ 366 w 388"/>
                <a:gd name="T27" fmla="*/ 215 h 317"/>
                <a:gd name="T28" fmla="*/ 343 w 388"/>
                <a:gd name="T29" fmla="*/ 240 h 317"/>
                <a:gd name="T30" fmla="*/ 317 w 388"/>
                <a:gd name="T31" fmla="*/ 260 h 317"/>
                <a:gd name="T32" fmla="*/ 290 w 388"/>
                <a:gd name="T33" fmla="*/ 279 h 317"/>
                <a:gd name="T34" fmla="*/ 261 w 388"/>
                <a:gd name="T35" fmla="*/ 294 h 317"/>
                <a:gd name="T36" fmla="*/ 231 w 388"/>
                <a:gd name="T37" fmla="*/ 306 h 317"/>
                <a:gd name="T38" fmla="*/ 203 w 388"/>
                <a:gd name="T39" fmla="*/ 314 h 317"/>
                <a:gd name="T40" fmla="*/ 174 w 388"/>
                <a:gd name="T41" fmla="*/ 317 h 317"/>
                <a:gd name="T42" fmla="*/ 146 w 388"/>
                <a:gd name="T43" fmla="*/ 316 h 317"/>
                <a:gd name="T44" fmla="*/ 118 w 388"/>
                <a:gd name="T45" fmla="*/ 311 h 317"/>
                <a:gd name="T46" fmla="*/ 94 w 388"/>
                <a:gd name="T47" fmla="*/ 299 h 317"/>
                <a:gd name="T48" fmla="*/ 72 w 388"/>
                <a:gd name="T49" fmla="*/ 284 h 317"/>
                <a:gd name="T50" fmla="*/ 52 w 388"/>
                <a:gd name="T51" fmla="*/ 262 h 317"/>
                <a:gd name="T52" fmla="*/ 31 w 388"/>
                <a:gd name="T53" fmla="*/ 231 h 317"/>
                <a:gd name="T54" fmla="*/ 17 w 388"/>
                <a:gd name="T55" fmla="*/ 201 h 317"/>
                <a:gd name="T56" fmla="*/ 8 w 388"/>
                <a:gd name="T57" fmla="*/ 175 h 317"/>
                <a:gd name="T58" fmla="*/ 3 w 388"/>
                <a:gd name="T59" fmla="*/ 152 h 317"/>
                <a:gd name="T60" fmla="*/ 0 w 388"/>
                <a:gd name="T61" fmla="*/ 131 h 317"/>
                <a:gd name="T62" fmla="*/ 1 w 388"/>
                <a:gd name="T63" fmla="*/ 115 h 317"/>
                <a:gd name="T64" fmla="*/ 3 w 388"/>
                <a:gd name="T65" fmla="*/ 102 h 317"/>
                <a:gd name="T66" fmla="*/ 4 w 388"/>
                <a:gd name="T67" fmla="*/ 94 h 317"/>
                <a:gd name="T68" fmla="*/ 4 w 388"/>
                <a:gd name="T69" fmla="*/ 92 h 317"/>
                <a:gd name="T70" fmla="*/ 25 w 388"/>
                <a:gd name="T71" fmla="*/ 78 h 317"/>
                <a:gd name="T72" fmla="*/ 48 w 388"/>
                <a:gd name="T73" fmla="*/ 61 h 317"/>
                <a:gd name="T74" fmla="*/ 77 w 388"/>
                <a:gd name="T75" fmla="*/ 44 h 317"/>
                <a:gd name="T76" fmla="*/ 109 w 388"/>
                <a:gd name="T77" fmla="*/ 27 h 317"/>
                <a:gd name="T78" fmla="*/ 146 w 388"/>
                <a:gd name="T79" fmla="*/ 14 h 317"/>
                <a:gd name="T80" fmla="*/ 186 w 388"/>
                <a:gd name="T81" fmla="*/ 4 h 317"/>
                <a:gd name="T82" fmla="*/ 227 w 388"/>
                <a:gd name="T83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88" h="317">
                  <a:moveTo>
                    <a:pt x="227" y="0"/>
                  </a:moveTo>
                  <a:lnTo>
                    <a:pt x="248" y="2"/>
                  </a:lnTo>
                  <a:lnTo>
                    <a:pt x="269" y="9"/>
                  </a:lnTo>
                  <a:lnTo>
                    <a:pt x="291" y="18"/>
                  </a:lnTo>
                  <a:lnTo>
                    <a:pt x="312" y="32"/>
                  </a:lnTo>
                  <a:lnTo>
                    <a:pt x="331" y="48"/>
                  </a:lnTo>
                  <a:lnTo>
                    <a:pt x="349" y="66"/>
                  </a:lnTo>
                  <a:lnTo>
                    <a:pt x="364" y="87"/>
                  </a:lnTo>
                  <a:lnTo>
                    <a:pt x="377" y="107"/>
                  </a:lnTo>
                  <a:lnTo>
                    <a:pt x="384" y="129"/>
                  </a:lnTo>
                  <a:lnTo>
                    <a:pt x="388" y="153"/>
                  </a:lnTo>
                  <a:lnTo>
                    <a:pt x="387" y="174"/>
                  </a:lnTo>
                  <a:lnTo>
                    <a:pt x="379" y="196"/>
                  </a:lnTo>
                  <a:lnTo>
                    <a:pt x="366" y="215"/>
                  </a:lnTo>
                  <a:lnTo>
                    <a:pt x="343" y="240"/>
                  </a:lnTo>
                  <a:lnTo>
                    <a:pt x="317" y="260"/>
                  </a:lnTo>
                  <a:lnTo>
                    <a:pt x="290" y="279"/>
                  </a:lnTo>
                  <a:lnTo>
                    <a:pt x="261" y="294"/>
                  </a:lnTo>
                  <a:lnTo>
                    <a:pt x="231" y="306"/>
                  </a:lnTo>
                  <a:lnTo>
                    <a:pt x="203" y="314"/>
                  </a:lnTo>
                  <a:lnTo>
                    <a:pt x="174" y="317"/>
                  </a:lnTo>
                  <a:lnTo>
                    <a:pt x="146" y="316"/>
                  </a:lnTo>
                  <a:lnTo>
                    <a:pt x="118" y="311"/>
                  </a:lnTo>
                  <a:lnTo>
                    <a:pt x="94" y="299"/>
                  </a:lnTo>
                  <a:lnTo>
                    <a:pt x="72" y="284"/>
                  </a:lnTo>
                  <a:lnTo>
                    <a:pt x="52" y="262"/>
                  </a:lnTo>
                  <a:lnTo>
                    <a:pt x="31" y="231"/>
                  </a:lnTo>
                  <a:lnTo>
                    <a:pt x="17" y="201"/>
                  </a:lnTo>
                  <a:lnTo>
                    <a:pt x="8" y="175"/>
                  </a:lnTo>
                  <a:lnTo>
                    <a:pt x="3" y="152"/>
                  </a:lnTo>
                  <a:lnTo>
                    <a:pt x="0" y="131"/>
                  </a:lnTo>
                  <a:lnTo>
                    <a:pt x="1" y="115"/>
                  </a:lnTo>
                  <a:lnTo>
                    <a:pt x="3" y="102"/>
                  </a:lnTo>
                  <a:lnTo>
                    <a:pt x="4" y="94"/>
                  </a:lnTo>
                  <a:lnTo>
                    <a:pt x="4" y="92"/>
                  </a:lnTo>
                  <a:lnTo>
                    <a:pt x="25" y="78"/>
                  </a:lnTo>
                  <a:lnTo>
                    <a:pt x="48" y="61"/>
                  </a:lnTo>
                  <a:lnTo>
                    <a:pt x="77" y="44"/>
                  </a:lnTo>
                  <a:lnTo>
                    <a:pt x="109" y="27"/>
                  </a:lnTo>
                  <a:lnTo>
                    <a:pt x="146" y="14"/>
                  </a:lnTo>
                  <a:lnTo>
                    <a:pt x="186" y="4"/>
                  </a:lnTo>
                  <a:lnTo>
                    <a:pt x="227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8" name="Freeform 16"/>
            <p:cNvSpPr>
              <a:spLocks/>
            </p:cNvSpPr>
            <p:nvPr/>
          </p:nvSpPr>
          <p:spPr bwMode="auto">
            <a:xfrm>
              <a:off x="9209088" y="4483100"/>
              <a:ext cx="279400" cy="309562"/>
            </a:xfrm>
            <a:custGeom>
              <a:avLst/>
              <a:gdLst>
                <a:gd name="T0" fmla="*/ 153 w 176"/>
                <a:gd name="T1" fmla="*/ 0 h 195"/>
                <a:gd name="T2" fmla="*/ 176 w 176"/>
                <a:gd name="T3" fmla="*/ 4 h 195"/>
                <a:gd name="T4" fmla="*/ 1 w 176"/>
                <a:gd name="T5" fmla="*/ 195 h 195"/>
                <a:gd name="T6" fmla="*/ 1 w 176"/>
                <a:gd name="T7" fmla="*/ 191 h 195"/>
                <a:gd name="T8" fmla="*/ 0 w 176"/>
                <a:gd name="T9" fmla="*/ 182 h 195"/>
                <a:gd name="T10" fmla="*/ 0 w 176"/>
                <a:gd name="T11" fmla="*/ 167 h 195"/>
                <a:gd name="T12" fmla="*/ 1 w 176"/>
                <a:gd name="T13" fmla="*/ 151 h 195"/>
                <a:gd name="T14" fmla="*/ 6 w 176"/>
                <a:gd name="T15" fmla="*/ 131 h 195"/>
                <a:gd name="T16" fmla="*/ 14 w 176"/>
                <a:gd name="T17" fmla="*/ 110 h 195"/>
                <a:gd name="T18" fmla="*/ 27 w 176"/>
                <a:gd name="T19" fmla="*/ 90 h 195"/>
                <a:gd name="T20" fmla="*/ 40 w 176"/>
                <a:gd name="T21" fmla="*/ 74 h 195"/>
                <a:gd name="T22" fmla="*/ 53 w 176"/>
                <a:gd name="T23" fmla="*/ 59 h 195"/>
                <a:gd name="T24" fmla="*/ 67 w 176"/>
                <a:gd name="T25" fmla="*/ 43 h 195"/>
                <a:gd name="T26" fmla="*/ 82 w 176"/>
                <a:gd name="T27" fmla="*/ 29 h 195"/>
                <a:gd name="T28" fmla="*/ 97 w 176"/>
                <a:gd name="T29" fmla="*/ 17 h 195"/>
                <a:gd name="T30" fmla="*/ 114 w 176"/>
                <a:gd name="T31" fmla="*/ 8 h 195"/>
                <a:gd name="T32" fmla="*/ 134 w 176"/>
                <a:gd name="T33" fmla="*/ 2 h 195"/>
                <a:gd name="T34" fmla="*/ 153 w 176"/>
                <a:gd name="T35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6" h="195">
                  <a:moveTo>
                    <a:pt x="153" y="0"/>
                  </a:moveTo>
                  <a:lnTo>
                    <a:pt x="176" y="4"/>
                  </a:lnTo>
                  <a:lnTo>
                    <a:pt x="1" y="195"/>
                  </a:lnTo>
                  <a:lnTo>
                    <a:pt x="1" y="191"/>
                  </a:lnTo>
                  <a:lnTo>
                    <a:pt x="0" y="182"/>
                  </a:lnTo>
                  <a:lnTo>
                    <a:pt x="0" y="167"/>
                  </a:lnTo>
                  <a:lnTo>
                    <a:pt x="1" y="151"/>
                  </a:lnTo>
                  <a:lnTo>
                    <a:pt x="6" y="131"/>
                  </a:lnTo>
                  <a:lnTo>
                    <a:pt x="14" y="110"/>
                  </a:lnTo>
                  <a:lnTo>
                    <a:pt x="27" y="90"/>
                  </a:lnTo>
                  <a:lnTo>
                    <a:pt x="40" y="74"/>
                  </a:lnTo>
                  <a:lnTo>
                    <a:pt x="53" y="59"/>
                  </a:lnTo>
                  <a:lnTo>
                    <a:pt x="67" y="43"/>
                  </a:lnTo>
                  <a:lnTo>
                    <a:pt x="82" y="29"/>
                  </a:lnTo>
                  <a:lnTo>
                    <a:pt x="97" y="17"/>
                  </a:lnTo>
                  <a:lnTo>
                    <a:pt x="114" y="8"/>
                  </a:lnTo>
                  <a:lnTo>
                    <a:pt x="134" y="2"/>
                  </a:lnTo>
                  <a:lnTo>
                    <a:pt x="153" y="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79" name="Group 40"/>
          <p:cNvGrpSpPr/>
          <p:nvPr/>
        </p:nvGrpSpPr>
        <p:grpSpPr>
          <a:xfrm>
            <a:off x="6838918" y="1932977"/>
            <a:ext cx="266767" cy="248820"/>
            <a:chOff x="1152525" y="1400175"/>
            <a:chExt cx="2406650" cy="2244726"/>
          </a:xfrm>
          <a:solidFill>
            <a:sysClr val="window" lastClr="FFFFFF"/>
          </a:solidFill>
        </p:grpSpPr>
        <p:sp>
          <p:nvSpPr>
            <p:cNvPr id="180" name="Freeform 6"/>
            <p:cNvSpPr>
              <a:spLocks/>
            </p:cNvSpPr>
            <p:nvPr/>
          </p:nvSpPr>
          <p:spPr bwMode="auto">
            <a:xfrm>
              <a:off x="1352550" y="1600200"/>
              <a:ext cx="522288" cy="80963"/>
            </a:xfrm>
            <a:custGeom>
              <a:avLst/>
              <a:gdLst>
                <a:gd name="T0" fmla="*/ 76 w 985"/>
                <a:gd name="T1" fmla="*/ 0 h 151"/>
                <a:gd name="T2" fmla="*/ 910 w 985"/>
                <a:gd name="T3" fmla="*/ 0 h 151"/>
                <a:gd name="T4" fmla="*/ 934 w 985"/>
                <a:gd name="T5" fmla="*/ 4 h 151"/>
                <a:gd name="T6" fmla="*/ 956 w 985"/>
                <a:gd name="T7" fmla="*/ 14 h 151"/>
                <a:gd name="T8" fmla="*/ 972 w 985"/>
                <a:gd name="T9" fmla="*/ 30 h 151"/>
                <a:gd name="T10" fmla="*/ 981 w 985"/>
                <a:gd name="T11" fmla="*/ 51 h 151"/>
                <a:gd name="T12" fmla="*/ 985 w 985"/>
                <a:gd name="T13" fmla="*/ 76 h 151"/>
                <a:gd name="T14" fmla="*/ 981 w 985"/>
                <a:gd name="T15" fmla="*/ 102 h 151"/>
                <a:gd name="T16" fmla="*/ 972 w 985"/>
                <a:gd name="T17" fmla="*/ 122 h 151"/>
                <a:gd name="T18" fmla="*/ 956 w 985"/>
                <a:gd name="T19" fmla="*/ 139 h 151"/>
                <a:gd name="T20" fmla="*/ 934 w 985"/>
                <a:gd name="T21" fmla="*/ 148 h 151"/>
                <a:gd name="T22" fmla="*/ 910 w 985"/>
                <a:gd name="T23" fmla="*/ 151 h 151"/>
                <a:gd name="T24" fmla="*/ 76 w 985"/>
                <a:gd name="T25" fmla="*/ 151 h 151"/>
                <a:gd name="T26" fmla="*/ 51 w 985"/>
                <a:gd name="T27" fmla="*/ 148 h 151"/>
                <a:gd name="T28" fmla="*/ 29 w 985"/>
                <a:gd name="T29" fmla="*/ 139 h 151"/>
                <a:gd name="T30" fmla="*/ 14 w 985"/>
                <a:gd name="T31" fmla="*/ 122 h 151"/>
                <a:gd name="T32" fmla="*/ 4 w 985"/>
                <a:gd name="T33" fmla="*/ 102 h 151"/>
                <a:gd name="T34" fmla="*/ 0 w 985"/>
                <a:gd name="T35" fmla="*/ 76 h 151"/>
                <a:gd name="T36" fmla="*/ 4 w 985"/>
                <a:gd name="T37" fmla="*/ 51 h 151"/>
                <a:gd name="T38" fmla="*/ 14 w 985"/>
                <a:gd name="T39" fmla="*/ 30 h 151"/>
                <a:gd name="T40" fmla="*/ 29 w 985"/>
                <a:gd name="T41" fmla="*/ 14 h 151"/>
                <a:gd name="T42" fmla="*/ 51 w 985"/>
                <a:gd name="T43" fmla="*/ 4 h 151"/>
                <a:gd name="T44" fmla="*/ 76 w 985"/>
                <a:gd name="T4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85" h="151">
                  <a:moveTo>
                    <a:pt x="76" y="0"/>
                  </a:moveTo>
                  <a:lnTo>
                    <a:pt x="910" y="0"/>
                  </a:lnTo>
                  <a:lnTo>
                    <a:pt x="934" y="4"/>
                  </a:lnTo>
                  <a:lnTo>
                    <a:pt x="956" y="14"/>
                  </a:lnTo>
                  <a:lnTo>
                    <a:pt x="972" y="30"/>
                  </a:lnTo>
                  <a:lnTo>
                    <a:pt x="981" y="51"/>
                  </a:lnTo>
                  <a:lnTo>
                    <a:pt x="985" y="76"/>
                  </a:lnTo>
                  <a:lnTo>
                    <a:pt x="981" y="102"/>
                  </a:lnTo>
                  <a:lnTo>
                    <a:pt x="972" y="122"/>
                  </a:lnTo>
                  <a:lnTo>
                    <a:pt x="956" y="139"/>
                  </a:lnTo>
                  <a:lnTo>
                    <a:pt x="934" y="148"/>
                  </a:lnTo>
                  <a:lnTo>
                    <a:pt x="910" y="151"/>
                  </a:lnTo>
                  <a:lnTo>
                    <a:pt x="76" y="151"/>
                  </a:lnTo>
                  <a:lnTo>
                    <a:pt x="51" y="148"/>
                  </a:lnTo>
                  <a:lnTo>
                    <a:pt x="29" y="139"/>
                  </a:lnTo>
                  <a:lnTo>
                    <a:pt x="14" y="122"/>
                  </a:lnTo>
                  <a:lnTo>
                    <a:pt x="4" y="102"/>
                  </a:lnTo>
                  <a:lnTo>
                    <a:pt x="0" y="76"/>
                  </a:lnTo>
                  <a:lnTo>
                    <a:pt x="4" y="51"/>
                  </a:lnTo>
                  <a:lnTo>
                    <a:pt x="14" y="30"/>
                  </a:lnTo>
                  <a:lnTo>
                    <a:pt x="29" y="14"/>
                  </a:lnTo>
                  <a:lnTo>
                    <a:pt x="51" y="4"/>
                  </a:lnTo>
                  <a:lnTo>
                    <a:pt x="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81" name="Freeform 7"/>
            <p:cNvSpPr>
              <a:spLocks/>
            </p:cNvSpPr>
            <p:nvPr/>
          </p:nvSpPr>
          <p:spPr bwMode="auto">
            <a:xfrm>
              <a:off x="1954213" y="1600200"/>
              <a:ext cx="441325" cy="80963"/>
            </a:xfrm>
            <a:custGeom>
              <a:avLst/>
              <a:gdLst>
                <a:gd name="T0" fmla="*/ 76 w 834"/>
                <a:gd name="T1" fmla="*/ 0 h 151"/>
                <a:gd name="T2" fmla="*/ 758 w 834"/>
                <a:gd name="T3" fmla="*/ 0 h 151"/>
                <a:gd name="T4" fmla="*/ 783 w 834"/>
                <a:gd name="T5" fmla="*/ 4 h 151"/>
                <a:gd name="T6" fmla="*/ 805 w 834"/>
                <a:gd name="T7" fmla="*/ 14 h 151"/>
                <a:gd name="T8" fmla="*/ 820 w 834"/>
                <a:gd name="T9" fmla="*/ 30 h 151"/>
                <a:gd name="T10" fmla="*/ 830 w 834"/>
                <a:gd name="T11" fmla="*/ 51 h 151"/>
                <a:gd name="T12" fmla="*/ 834 w 834"/>
                <a:gd name="T13" fmla="*/ 76 h 151"/>
                <a:gd name="T14" fmla="*/ 830 w 834"/>
                <a:gd name="T15" fmla="*/ 102 h 151"/>
                <a:gd name="T16" fmla="*/ 820 w 834"/>
                <a:gd name="T17" fmla="*/ 122 h 151"/>
                <a:gd name="T18" fmla="*/ 805 w 834"/>
                <a:gd name="T19" fmla="*/ 139 h 151"/>
                <a:gd name="T20" fmla="*/ 783 w 834"/>
                <a:gd name="T21" fmla="*/ 148 h 151"/>
                <a:gd name="T22" fmla="*/ 758 w 834"/>
                <a:gd name="T23" fmla="*/ 151 h 151"/>
                <a:gd name="T24" fmla="*/ 76 w 834"/>
                <a:gd name="T25" fmla="*/ 151 h 151"/>
                <a:gd name="T26" fmla="*/ 51 w 834"/>
                <a:gd name="T27" fmla="*/ 148 h 151"/>
                <a:gd name="T28" fmla="*/ 29 w 834"/>
                <a:gd name="T29" fmla="*/ 139 h 151"/>
                <a:gd name="T30" fmla="*/ 14 w 834"/>
                <a:gd name="T31" fmla="*/ 122 h 151"/>
                <a:gd name="T32" fmla="*/ 4 w 834"/>
                <a:gd name="T33" fmla="*/ 102 h 151"/>
                <a:gd name="T34" fmla="*/ 0 w 834"/>
                <a:gd name="T35" fmla="*/ 76 h 151"/>
                <a:gd name="T36" fmla="*/ 4 w 834"/>
                <a:gd name="T37" fmla="*/ 51 h 151"/>
                <a:gd name="T38" fmla="*/ 14 w 834"/>
                <a:gd name="T39" fmla="*/ 30 h 151"/>
                <a:gd name="T40" fmla="*/ 29 w 834"/>
                <a:gd name="T41" fmla="*/ 14 h 151"/>
                <a:gd name="T42" fmla="*/ 51 w 834"/>
                <a:gd name="T43" fmla="*/ 4 h 151"/>
                <a:gd name="T44" fmla="*/ 76 w 834"/>
                <a:gd name="T4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34" h="151">
                  <a:moveTo>
                    <a:pt x="76" y="0"/>
                  </a:moveTo>
                  <a:lnTo>
                    <a:pt x="758" y="0"/>
                  </a:lnTo>
                  <a:lnTo>
                    <a:pt x="783" y="4"/>
                  </a:lnTo>
                  <a:lnTo>
                    <a:pt x="805" y="14"/>
                  </a:lnTo>
                  <a:lnTo>
                    <a:pt x="820" y="30"/>
                  </a:lnTo>
                  <a:lnTo>
                    <a:pt x="830" y="51"/>
                  </a:lnTo>
                  <a:lnTo>
                    <a:pt x="834" y="76"/>
                  </a:lnTo>
                  <a:lnTo>
                    <a:pt x="830" y="102"/>
                  </a:lnTo>
                  <a:lnTo>
                    <a:pt x="820" y="122"/>
                  </a:lnTo>
                  <a:lnTo>
                    <a:pt x="805" y="139"/>
                  </a:lnTo>
                  <a:lnTo>
                    <a:pt x="783" y="148"/>
                  </a:lnTo>
                  <a:lnTo>
                    <a:pt x="758" y="151"/>
                  </a:lnTo>
                  <a:lnTo>
                    <a:pt x="76" y="151"/>
                  </a:lnTo>
                  <a:lnTo>
                    <a:pt x="51" y="148"/>
                  </a:lnTo>
                  <a:lnTo>
                    <a:pt x="29" y="139"/>
                  </a:lnTo>
                  <a:lnTo>
                    <a:pt x="14" y="122"/>
                  </a:lnTo>
                  <a:lnTo>
                    <a:pt x="4" y="102"/>
                  </a:lnTo>
                  <a:lnTo>
                    <a:pt x="0" y="76"/>
                  </a:lnTo>
                  <a:lnTo>
                    <a:pt x="4" y="51"/>
                  </a:lnTo>
                  <a:lnTo>
                    <a:pt x="14" y="30"/>
                  </a:lnTo>
                  <a:lnTo>
                    <a:pt x="29" y="14"/>
                  </a:lnTo>
                  <a:lnTo>
                    <a:pt x="51" y="4"/>
                  </a:lnTo>
                  <a:lnTo>
                    <a:pt x="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82" name="Freeform 8"/>
            <p:cNvSpPr>
              <a:spLocks/>
            </p:cNvSpPr>
            <p:nvPr/>
          </p:nvSpPr>
          <p:spPr bwMode="auto">
            <a:xfrm>
              <a:off x="1352550" y="1760538"/>
              <a:ext cx="320675" cy="80963"/>
            </a:xfrm>
            <a:custGeom>
              <a:avLst/>
              <a:gdLst>
                <a:gd name="T0" fmla="*/ 76 w 606"/>
                <a:gd name="T1" fmla="*/ 0 h 151"/>
                <a:gd name="T2" fmla="*/ 531 w 606"/>
                <a:gd name="T3" fmla="*/ 0 h 151"/>
                <a:gd name="T4" fmla="*/ 555 w 606"/>
                <a:gd name="T5" fmla="*/ 4 h 151"/>
                <a:gd name="T6" fmla="*/ 577 w 606"/>
                <a:gd name="T7" fmla="*/ 14 h 151"/>
                <a:gd name="T8" fmla="*/ 593 w 606"/>
                <a:gd name="T9" fmla="*/ 30 h 151"/>
                <a:gd name="T10" fmla="*/ 602 w 606"/>
                <a:gd name="T11" fmla="*/ 51 h 151"/>
                <a:gd name="T12" fmla="*/ 606 w 606"/>
                <a:gd name="T13" fmla="*/ 76 h 151"/>
                <a:gd name="T14" fmla="*/ 602 w 606"/>
                <a:gd name="T15" fmla="*/ 102 h 151"/>
                <a:gd name="T16" fmla="*/ 593 w 606"/>
                <a:gd name="T17" fmla="*/ 122 h 151"/>
                <a:gd name="T18" fmla="*/ 577 w 606"/>
                <a:gd name="T19" fmla="*/ 139 h 151"/>
                <a:gd name="T20" fmla="*/ 555 w 606"/>
                <a:gd name="T21" fmla="*/ 148 h 151"/>
                <a:gd name="T22" fmla="*/ 531 w 606"/>
                <a:gd name="T23" fmla="*/ 151 h 151"/>
                <a:gd name="T24" fmla="*/ 76 w 606"/>
                <a:gd name="T25" fmla="*/ 151 h 151"/>
                <a:gd name="T26" fmla="*/ 51 w 606"/>
                <a:gd name="T27" fmla="*/ 148 h 151"/>
                <a:gd name="T28" fmla="*/ 29 w 606"/>
                <a:gd name="T29" fmla="*/ 139 h 151"/>
                <a:gd name="T30" fmla="*/ 14 w 606"/>
                <a:gd name="T31" fmla="*/ 122 h 151"/>
                <a:gd name="T32" fmla="*/ 4 w 606"/>
                <a:gd name="T33" fmla="*/ 102 h 151"/>
                <a:gd name="T34" fmla="*/ 0 w 606"/>
                <a:gd name="T35" fmla="*/ 76 h 151"/>
                <a:gd name="T36" fmla="*/ 4 w 606"/>
                <a:gd name="T37" fmla="*/ 51 h 151"/>
                <a:gd name="T38" fmla="*/ 14 w 606"/>
                <a:gd name="T39" fmla="*/ 30 h 151"/>
                <a:gd name="T40" fmla="*/ 29 w 606"/>
                <a:gd name="T41" fmla="*/ 14 h 151"/>
                <a:gd name="T42" fmla="*/ 51 w 606"/>
                <a:gd name="T43" fmla="*/ 4 h 151"/>
                <a:gd name="T44" fmla="*/ 76 w 606"/>
                <a:gd name="T4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6" h="151">
                  <a:moveTo>
                    <a:pt x="76" y="0"/>
                  </a:moveTo>
                  <a:lnTo>
                    <a:pt x="531" y="0"/>
                  </a:lnTo>
                  <a:lnTo>
                    <a:pt x="555" y="4"/>
                  </a:lnTo>
                  <a:lnTo>
                    <a:pt x="577" y="14"/>
                  </a:lnTo>
                  <a:lnTo>
                    <a:pt x="593" y="30"/>
                  </a:lnTo>
                  <a:lnTo>
                    <a:pt x="602" y="51"/>
                  </a:lnTo>
                  <a:lnTo>
                    <a:pt x="606" y="76"/>
                  </a:lnTo>
                  <a:lnTo>
                    <a:pt x="602" y="102"/>
                  </a:lnTo>
                  <a:lnTo>
                    <a:pt x="593" y="122"/>
                  </a:lnTo>
                  <a:lnTo>
                    <a:pt x="577" y="139"/>
                  </a:lnTo>
                  <a:lnTo>
                    <a:pt x="555" y="148"/>
                  </a:lnTo>
                  <a:lnTo>
                    <a:pt x="531" y="151"/>
                  </a:lnTo>
                  <a:lnTo>
                    <a:pt x="76" y="151"/>
                  </a:lnTo>
                  <a:lnTo>
                    <a:pt x="51" y="148"/>
                  </a:lnTo>
                  <a:lnTo>
                    <a:pt x="29" y="139"/>
                  </a:lnTo>
                  <a:lnTo>
                    <a:pt x="14" y="122"/>
                  </a:lnTo>
                  <a:lnTo>
                    <a:pt x="4" y="102"/>
                  </a:lnTo>
                  <a:lnTo>
                    <a:pt x="0" y="76"/>
                  </a:lnTo>
                  <a:lnTo>
                    <a:pt x="4" y="51"/>
                  </a:lnTo>
                  <a:lnTo>
                    <a:pt x="14" y="30"/>
                  </a:lnTo>
                  <a:lnTo>
                    <a:pt x="29" y="14"/>
                  </a:lnTo>
                  <a:lnTo>
                    <a:pt x="51" y="4"/>
                  </a:lnTo>
                  <a:lnTo>
                    <a:pt x="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83" name="Freeform 9"/>
            <p:cNvSpPr>
              <a:spLocks/>
            </p:cNvSpPr>
            <p:nvPr/>
          </p:nvSpPr>
          <p:spPr bwMode="auto">
            <a:xfrm>
              <a:off x="1754188" y="1760538"/>
              <a:ext cx="441325" cy="80963"/>
            </a:xfrm>
            <a:custGeom>
              <a:avLst/>
              <a:gdLst>
                <a:gd name="T0" fmla="*/ 76 w 834"/>
                <a:gd name="T1" fmla="*/ 0 h 151"/>
                <a:gd name="T2" fmla="*/ 758 w 834"/>
                <a:gd name="T3" fmla="*/ 0 h 151"/>
                <a:gd name="T4" fmla="*/ 783 w 834"/>
                <a:gd name="T5" fmla="*/ 4 h 151"/>
                <a:gd name="T6" fmla="*/ 805 w 834"/>
                <a:gd name="T7" fmla="*/ 14 h 151"/>
                <a:gd name="T8" fmla="*/ 820 w 834"/>
                <a:gd name="T9" fmla="*/ 30 h 151"/>
                <a:gd name="T10" fmla="*/ 830 w 834"/>
                <a:gd name="T11" fmla="*/ 51 h 151"/>
                <a:gd name="T12" fmla="*/ 834 w 834"/>
                <a:gd name="T13" fmla="*/ 76 h 151"/>
                <a:gd name="T14" fmla="*/ 830 w 834"/>
                <a:gd name="T15" fmla="*/ 102 h 151"/>
                <a:gd name="T16" fmla="*/ 820 w 834"/>
                <a:gd name="T17" fmla="*/ 122 h 151"/>
                <a:gd name="T18" fmla="*/ 805 w 834"/>
                <a:gd name="T19" fmla="*/ 139 h 151"/>
                <a:gd name="T20" fmla="*/ 783 w 834"/>
                <a:gd name="T21" fmla="*/ 148 h 151"/>
                <a:gd name="T22" fmla="*/ 758 w 834"/>
                <a:gd name="T23" fmla="*/ 151 h 151"/>
                <a:gd name="T24" fmla="*/ 76 w 834"/>
                <a:gd name="T25" fmla="*/ 151 h 151"/>
                <a:gd name="T26" fmla="*/ 51 w 834"/>
                <a:gd name="T27" fmla="*/ 148 h 151"/>
                <a:gd name="T28" fmla="*/ 29 w 834"/>
                <a:gd name="T29" fmla="*/ 139 h 151"/>
                <a:gd name="T30" fmla="*/ 14 w 834"/>
                <a:gd name="T31" fmla="*/ 122 h 151"/>
                <a:gd name="T32" fmla="*/ 4 w 834"/>
                <a:gd name="T33" fmla="*/ 102 h 151"/>
                <a:gd name="T34" fmla="*/ 0 w 834"/>
                <a:gd name="T35" fmla="*/ 76 h 151"/>
                <a:gd name="T36" fmla="*/ 4 w 834"/>
                <a:gd name="T37" fmla="*/ 51 h 151"/>
                <a:gd name="T38" fmla="*/ 14 w 834"/>
                <a:gd name="T39" fmla="*/ 30 h 151"/>
                <a:gd name="T40" fmla="*/ 29 w 834"/>
                <a:gd name="T41" fmla="*/ 14 h 151"/>
                <a:gd name="T42" fmla="*/ 51 w 834"/>
                <a:gd name="T43" fmla="*/ 4 h 151"/>
                <a:gd name="T44" fmla="*/ 76 w 834"/>
                <a:gd name="T4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34" h="151">
                  <a:moveTo>
                    <a:pt x="76" y="0"/>
                  </a:moveTo>
                  <a:lnTo>
                    <a:pt x="758" y="0"/>
                  </a:lnTo>
                  <a:lnTo>
                    <a:pt x="783" y="4"/>
                  </a:lnTo>
                  <a:lnTo>
                    <a:pt x="805" y="14"/>
                  </a:lnTo>
                  <a:lnTo>
                    <a:pt x="820" y="30"/>
                  </a:lnTo>
                  <a:lnTo>
                    <a:pt x="830" y="51"/>
                  </a:lnTo>
                  <a:lnTo>
                    <a:pt x="834" y="76"/>
                  </a:lnTo>
                  <a:lnTo>
                    <a:pt x="830" y="102"/>
                  </a:lnTo>
                  <a:lnTo>
                    <a:pt x="820" y="122"/>
                  </a:lnTo>
                  <a:lnTo>
                    <a:pt x="805" y="139"/>
                  </a:lnTo>
                  <a:lnTo>
                    <a:pt x="783" y="148"/>
                  </a:lnTo>
                  <a:lnTo>
                    <a:pt x="758" y="151"/>
                  </a:lnTo>
                  <a:lnTo>
                    <a:pt x="76" y="151"/>
                  </a:lnTo>
                  <a:lnTo>
                    <a:pt x="51" y="148"/>
                  </a:lnTo>
                  <a:lnTo>
                    <a:pt x="29" y="139"/>
                  </a:lnTo>
                  <a:lnTo>
                    <a:pt x="14" y="122"/>
                  </a:lnTo>
                  <a:lnTo>
                    <a:pt x="4" y="102"/>
                  </a:lnTo>
                  <a:lnTo>
                    <a:pt x="0" y="76"/>
                  </a:lnTo>
                  <a:lnTo>
                    <a:pt x="4" y="51"/>
                  </a:lnTo>
                  <a:lnTo>
                    <a:pt x="14" y="30"/>
                  </a:lnTo>
                  <a:lnTo>
                    <a:pt x="29" y="14"/>
                  </a:lnTo>
                  <a:lnTo>
                    <a:pt x="51" y="4"/>
                  </a:lnTo>
                  <a:lnTo>
                    <a:pt x="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84" name="Freeform 10"/>
            <p:cNvSpPr>
              <a:spLocks/>
            </p:cNvSpPr>
            <p:nvPr/>
          </p:nvSpPr>
          <p:spPr bwMode="auto">
            <a:xfrm>
              <a:off x="2274888" y="1760538"/>
              <a:ext cx="120650" cy="80963"/>
            </a:xfrm>
            <a:custGeom>
              <a:avLst/>
              <a:gdLst>
                <a:gd name="T0" fmla="*/ 76 w 228"/>
                <a:gd name="T1" fmla="*/ 0 h 151"/>
                <a:gd name="T2" fmla="*/ 152 w 228"/>
                <a:gd name="T3" fmla="*/ 0 h 151"/>
                <a:gd name="T4" fmla="*/ 177 w 228"/>
                <a:gd name="T5" fmla="*/ 4 h 151"/>
                <a:gd name="T6" fmla="*/ 199 w 228"/>
                <a:gd name="T7" fmla="*/ 14 h 151"/>
                <a:gd name="T8" fmla="*/ 214 w 228"/>
                <a:gd name="T9" fmla="*/ 30 h 151"/>
                <a:gd name="T10" fmla="*/ 224 w 228"/>
                <a:gd name="T11" fmla="*/ 51 h 151"/>
                <a:gd name="T12" fmla="*/ 228 w 228"/>
                <a:gd name="T13" fmla="*/ 76 h 151"/>
                <a:gd name="T14" fmla="*/ 224 w 228"/>
                <a:gd name="T15" fmla="*/ 102 h 151"/>
                <a:gd name="T16" fmla="*/ 214 w 228"/>
                <a:gd name="T17" fmla="*/ 122 h 151"/>
                <a:gd name="T18" fmla="*/ 199 w 228"/>
                <a:gd name="T19" fmla="*/ 139 h 151"/>
                <a:gd name="T20" fmla="*/ 177 w 228"/>
                <a:gd name="T21" fmla="*/ 148 h 151"/>
                <a:gd name="T22" fmla="*/ 152 w 228"/>
                <a:gd name="T23" fmla="*/ 151 h 151"/>
                <a:gd name="T24" fmla="*/ 76 w 228"/>
                <a:gd name="T25" fmla="*/ 151 h 151"/>
                <a:gd name="T26" fmla="*/ 51 w 228"/>
                <a:gd name="T27" fmla="*/ 148 h 151"/>
                <a:gd name="T28" fmla="*/ 29 w 228"/>
                <a:gd name="T29" fmla="*/ 139 h 151"/>
                <a:gd name="T30" fmla="*/ 14 w 228"/>
                <a:gd name="T31" fmla="*/ 122 h 151"/>
                <a:gd name="T32" fmla="*/ 5 w 228"/>
                <a:gd name="T33" fmla="*/ 102 h 151"/>
                <a:gd name="T34" fmla="*/ 0 w 228"/>
                <a:gd name="T35" fmla="*/ 76 h 151"/>
                <a:gd name="T36" fmla="*/ 5 w 228"/>
                <a:gd name="T37" fmla="*/ 51 h 151"/>
                <a:gd name="T38" fmla="*/ 14 w 228"/>
                <a:gd name="T39" fmla="*/ 30 h 151"/>
                <a:gd name="T40" fmla="*/ 29 w 228"/>
                <a:gd name="T41" fmla="*/ 14 h 151"/>
                <a:gd name="T42" fmla="*/ 51 w 228"/>
                <a:gd name="T43" fmla="*/ 4 h 151"/>
                <a:gd name="T44" fmla="*/ 76 w 228"/>
                <a:gd name="T4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8" h="151">
                  <a:moveTo>
                    <a:pt x="76" y="0"/>
                  </a:moveTo>
                  <a:lnTo>
                    <a:pt x="152" y="0"/>
                  </a:lnTo>
                  <a:lnTo>
                    <a:pt x="177" y="4"/>
                  </a:lnTo>
                  <a:lnTo>
                    <a:pt x="199" y="14"/>
                  </a:lnTo>
                  <a:lnTo>
                    <a:pt x="214" y="30"/>
                  </a:lnTo>
                  <a:lnTo>
                    <a:pt x="224" y="51"/>
                  </a:lnTo>
                  <a:lnTo>
                    <a:pt x="228" y="76"/>
                  </a:lnTo>
                  <a:lnTo>
                    <a:pt x="224" y="102"/>
                  </a:lnTo>
                  <a:lnTo>
                    <a:pt x="214" y="122"/>
                  </a:lnTo>
                  <a:lnTo>
                    <a:pt x="199" y="139"/>
                  </a:lnTo>
                  <a:lnTo>
                    <a:pt x="177" y="148"/>
                  </a:lnTo>
                  <a:lnTo>
                    <a:pt x="152" y="151"/>
                  </a:lnTo>
                  <a:lnTo>
                    <a:pt x="76" y="151"/>
                  </a:lnTo>
                  <a:lnTo>
                    <a:pt x="51" y="148"/>
                  </a:lnTo>
                  <a:lnTo>
                    <a:pt x="29" y="139"/>
                  </a:lnTo>
                  <a:lnTo>
                    <a:pt x="14" y="122"/>
                  </a:lnTo>
                  <a:lnTo>
                    <a:pt x="5" y="102"/>
                  </a:lnTo>
                  <a:lnTo>
                    <a:pt x="0" y="76"/>
                  </a:lnTo>
                  <a:lnTo>
                    <a:pt x="5" y="51"/>
                  </a:lnTo>
                  <a:lnTo>
                    <a:pt x="14" y="30"/>
                  </a:lnTo>
                  <a:lnTo>
                    <a:pt x="29" y="14"/>
                  </a:lnTo>
                  <a:lnTo>
                    <a:pt x="51" y="4"/>
                  </a:lnTo>
                  <a:lnTo>
                    <a:pt x="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85" name="Freeform 11"/>
            <p:cNvSpPr>
              <a:spLocks noEditPoints="1"/>
            </p:cNvSpPr>
            <p:nvPr/>
          </p:nvSpPr>
          <p:spPr bwMode="auto">
            <a:xfrm>
              <a:off x="1835150" y="3405188"/>
              <a:ext cx="1041400" cy="239713"/>
            </a:xfrm>
            <a:custGeom>
              <a:avLst/>
              <a:gdLst>
                <a:gd name="T0" fmla="*/ 379 w 1970"/>
                <a:gd name="T1" fmla="*/ 151 h 454"/>
                <a:gd name="T2" fmla="*/ 337 w 1970"/>
                <a:gd name="T3" fmla="*/ 155 h 454"/>
                <a:gd name="T4" fmla="*/ 299 w 1970"/>
                <a:gd name="T5" fmla="*/ 166 h 454"/>
                <a:gd name="T6" fmla="*/ 263 w 1970"/>
                <a:gd name="T7" fmla="*/ 183 h 454"/>
                <a:gd name="T8" fmla="*/ 231 w 1970"/>
                <a:gd name="T9" fmla="*/ 205 h 454"/>
                <a:gd name="T10" fmla="*/ 205 w 1970"/>
                <a:gd name="T11" fmla="*/ 234 h 454"/>
                <a:gd name="T12" fmla="*/ 183 w 1970"/>
                <a:gd name="T13" fmla="*/ 267 h 454"/>
                <a:gd name="T14" fmla="*/ 166 w 1970"/>
                <a:gd name="T15" fmla="*/ 303 h 454"/>
                <a:gd name="T16" fmla="*/ 1811 w 1970"/>
                <a:gd name="T17" fmla="*/ 303 h 454"/>
                <a:gd name="T18" fmla="*/ 1795 w 1970"/>
                <a:gd name="T19" fmla="*/ 267 h 454"/>
                <a:gd name="T20" fmla="*/ 1773 w 1970"/>
                <a:gd name="T21" fmla="*/ 234 h 454"/>
                <a:gd name="T22" fmla="*/ 1746 w 1970"/>
                <a:gd name="T23" fmla="*/ 205 h 454"/>
                <a:gd name="T24" fmla="*/ 1714 w 1970"/>
                <a:gd name="T25" fmla="*/ 183 h 454"/>
                <a:gd name="T26" fmla="*/ 1678 w 1970"/>
                <a:gd name="T27" fmla="*/ 166 h 454"/>
                <a:gd name="T28" fmla="*/ 1640 w 1970"/>
                <a:gd name="T29" fmla="*/ 155 h 454"/>
                <a:gd name="T30" fmla="*/ 1598 w 1970"/>
                <a:gd name="T31" fmla="*/ 151 h 454"/>
                <a:gd name="T32" fmla="*/ 379 w 1970"/>
                <a:gd name="T33" fmla="*/ 151 h 454"/>
                <a:gd name="T34" fmla="*/ 379 w 1970"/>
                <a:gd name="T35" fmla="*/ 0 h 454"/>
                <a:gd name="T36" fmla="*/ 1591 w 1970"/>
                <a:gd name="T37" fmla="*/ 0 h 454"/>
                <a:gd name="T38" fmla="*/ 1648 w 1970"/>
                <a:gd name="T39" fmla="*/ 4 h 454"/>
                <a:gd name="T40" fmla="*/ 1702 w 1970"/>
                <a:gd name="T41" fmla="*/ 16 h 454"/>
                <a:gd name="T42" fmla="*/ 1753 w 1970"/>
                <a:gd name="T43" fmla="*/ 35 h 454"/>
                <a:gd name="T44" fmla="*/ 1800 w 1970"/>
                <a:gd name="T45" fmla="*/ 60 h 454"/>
                <a:gd name="T46" fmla="*/ 1841 w 1970"/>
                <a:gd name="T47" fmla="*/ 92 h 454"/>
                <a:gd name="T48" fmla="*/ 1878 w 1970"/>
                <a:gd name="T49" fmla="*/ 129 h 454"/>
                <a:gd name="T50" fmla="*/ 1910 w 1970"/>
                <a:gd name="T51" fmla="*/ 172 h 454"/>
                <a:gd name="T52" fmla="*/ 1936 w 1970"/>
                <a:gd name="T53" fmla="*/ 218 h 454"/>
                <a:gd name="T54" fmla="*/ 1955 w 1970"/>
                <a:gd name="T55" fmla="*/ 268 h 454"/>
                <a:gd name="T56" fmla="*/ 1966 w 1970"/>
                <a:gd name="T57" fmla="*/ 322 h 454"/>
                <a:gd name="T58" fmla="*/ 1970 w 1970"/>
                <a:gd name="T59" fmla="*/ 378 h 454"/>
                <a:gd name="T60" fmla="*/ 1966 w 1970"/>
                <a:gd name="T61" fmla="*/ 404 h 454"/>
                <a:gd name="T62" fmla="*/ 1957 w 1970"/>
                <a:gd name="T63" fmla="*/ 425 h 454"/>
                <a:gd name="T64" fmla="*/ 1941 w 1970"/>
                <a:gd name="T65" fmla="*/ 442 h 454"/>
                <a:gd name="T66" fmla="*/ 1919 w 1970"/>
                <a:gd name="T67" fmla="*/ 451 h 454"/>
                <a:gd name="T68" fmla="*/ 1895 w 1970"/>
                <a:gd name="T69" fmla="*/ 454 h 454"/>
                <a:gd name="T70" fmla="*/ 75 w 1970"/>
                <a:gd name="T71" fmla="*/ 454 h 454"/>
                <a:gd name="T72" fmla="*/ 51 w 1970"/>
                <a:gd name="T73" fmla="*/ 451 h 454"/>
                <a:gd name="T74" fmla="*/ 29 w 1970"/>
                <a:gd name="T75" fmla="*/ 442 h 454"/>
                <a:gd name="T76" fmla="*/ 13 w 1970"/>
                <a:gd name="T77" fmla="*/ 425 h 454"/>
                <a:gd name="T78" fmla="*/ 4 w 1970"/>
                <a:gd name="T79" fmla="*/ 404 h 454"/>
                <a:gd name="T80" fmla="*/ 0 w 1970"/>
                <a:gd name="T81" fmla="*/ 378 h 454"/>
                <a:gd name="T82" fmla="*/ 4 w 1970"/>
                <a:gd name="T83" fmla="*/ 322 h 454"/>
                <a:gd name="T84" fmla="*/ 15 w 1970"/>
                <a:gd name="T85" fmla="*/ 268 h 454"/>
                <a:gd name="T86" fmla="*/ 34 w 1970"/>
                <a:gd name="T87" fmla="*/ 218 h 454"/>
                <a:gd name="T88" fmla="*/ 60 w 1970"/>
                <a:gd name="T89" fmla="*/ 172 h 454"/>
                <a:gd name="T90" fmla="*/ 92 w 1970"/>
                <a:gd name="T91" fmla="*/ 129 h 454"/>
                <a:gd name="T92" fmla="*/ 129 w 1970"/>
                <a:gd name="T93" fmla="*/ 92 h 454"/>
                <a:gd name="T94" fmla="*/ 170 w 1970"/>
                <a:gd name="T95" fmla="*/ 60 h 454"/>
                <a:gd name="T96" fmla="*/ 217 w 1970"/>
                <a:gd name="T97" fmla="*/ 35 h 454"/>
                <a:gd name="T98" fmla="*/ 268 w 1970"/>
                <a:gd name="T99" fmla="*/ 16 h 454"/>
                <a:gd name="T100" fmla="*/ 322 w 1970"/>
                <a:gd name="T101" fmla="*/ 4 h 454"/>
                <a:gd name="T102" fmla="*/ 379 w 1970"/>
                <a:gd name="T103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70" h="454">
                  <a:moveTo>
                    <a:pt x="379" y="151"/>
                  </a:moveTo>
                  <a:lnTo>
                    <a:pt x="337" y="155"/>
                  </a:lnTo>
                  <a:lnTo>
                    <a:pt x="299" y="166"/>
                  </a:lnTo>
                  <a:lnTo>
                    <a:pt x="263" y="183"/>
                  </a:lnTo>
                  <a:lnTo>
                    <a:pt x="231" y="205"/>
                  </a:lnTo>
                  <a:lnTo>
                    <a:pt x="205" y="234"/>
                  </a:lnTo>
                  <a:lnTo>
                    <a:pt x="183" y="267"/>
                  </a:lnTo>
                  <a:lnTo>
                    <a:pt x="166" y="303"/>
                  </a:lnTo>
                  <a:lnTo>
                    <a:pt x="1811" y="303"/>
                  </a:lnTo>
                  <a:lnTo>
                    <a:pt x="1795" y="267"/>
                  </a:lnTo>
                  <a:lnTo>
                    <a:pt x="1773" y="234"/>
                  </a:lnTo>
                  <a:lnTo>
                    <a:pt x="1746" y="205"/>
                  </a:lnTo>
                  <a:lnTo>
                    <a:pt x="1714" y="183"/>
                  </a:lnTo>
                  <a:lnTo>
                    <a:pt x="1678" y="166"/>
                  </a:lnTo>
                  <a:lnTo>
                    <a:pt x="1640" y="155"/>
                  </a:lnTo>
                  <a:lnTo>
                    <a:pt x="1598" y="151"/>
                  </a:lnTo>
                  <a:lnTo>
                    <a:pt x="379" y="151"/>
                  </a:lnTo>
                  <a:close/>
                  <a:moveTo>
                    <a:pt x="379" y="0"/>
                  </a:moveTo>
                  <a:lnTo>
                    <a:pt x="1591" y="0"/>
                  </a:lnTo>
                  <a:lnTo>
                    <a:pt x="1648" y="4"/>
                  </a:lnTo>
                  <a:lnTo>
                    <a:pt x="1702" y="16"/>
                  </a:lnTo>
                  <a:lnTo>
                    <a:pt x="1753" y="35"/>
                  </a:lnTo>
                  <a:lnTo>
                    <a:pt x="1800" y="60"/>
                  </a:lnTo>
                  <a:lnTo>
                    <a:pt x="1841" y="92"/>
                  </a:lnTo>
                  <a:lnTo>
                    <a:pt x="1878" y="129"/>
                  </a:lnTo>
                  <a:lnTo>
                    <a:pt x="1910" y="172"/>
                  </a:lnTo>
                  <a:lnTo>
                    <a:pt x="1936" y="218"/>
                  </a:lnTo>
                  <a:lnTo>
                    <a:pt x="1955" y="268"/>
                  </a:lnTo>
                  <a:lnTo>
                    <a:pt x="1966" y="322"/>
                  </a:lnTo>
                  <a:lnTo>
                    <a:pt x="1970" y="378"/>
                  </a:lnTo>
                  <a:lnTo>
                    <a:pt x="1966" y="404"/>
                  </a:lnTo>
                  <a:lnTo>
                    <a:pt x="1957" y="425"/>
                  </a:lnTo>
                  <a:lnTo>
                    <a:pt x="1941" y="442"/>
                  </a:lnTo>
                  <a:lnTo>
                    <a:pt x="1919" y="451"/>
                  </a:lnTo>
                  <a:lnTo>
                    <a:pt x="1895" y="454"/>
                  </a:lnTo>
                  <a:lnTo>
                    <a:pt x="75" y="454"/>
                  </a:lnTo>
                  <a:lnTo>
                    <a:pt x="51" y="451"/>
                  </a:lnTo>
                  <a:lnTo>
                    <a:pt x="29" y="442"/>
                  </a:lnTo>
                  <a:lnTo>
                    <a:pt x="13" y="425"/>
                  </a:lnTo>
                  <a:lnTo>
                    <a:pt x="4" y="404"/>
                  </a:lnTo>
                  <a:lnTo>
                    <a:pt x="0" y="378"/>
                  </a:lnTo>
                  <a:lnTo>
                    <a:pt x="4" y="322"/>
                  </a:lnTo>
                  <a:lnTo>
                    <a:pt x="15" y="268"/>
                  </a:lnTo>
                  <a:lnTo>
                    <a:pt x="34" y="218"/>
                  </a:lnTo>
                  <a:lnTo>
                    <a:pt x="60" y="172"/>
                  </a:lnTo>
                  <a:lnTo>
                    <a:pt x="92" y="129"/>
                  </a:lnTo>
                  <a:lnTo>
                    <a:pt x="129" y="92"/>
                  </a:lnTo>
                  <a:lnTo>
                    <a:pt x="170" y="60"/>
                  </a:lnTo>
                  <a:lnTo>
                    <a:pt x="217" y="35"/>
                  </a:lnTo>
                  <a:lnTo>
                    <a:pt x="268" y="16"/>
                  </a:lnTo>
                  <a:lnTo>
                    <a:pt x="322" y="4"/>
                  </a:lnTo>
                  <a:lnTo>
                    <a:pt x="3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86" name="Freeform 12"/>
            <p:cNvSpPr>
              <a:spLocks noEditPoints="1"/>
            </p:cNvSpPr>
            <p:nvPr/>
          </p:nvSpPr>
          <p:spPr bwMode="auto">
            <a:xfrm>
              <a:off x="2035175" y="3084513"/>
              <a:ext cx="642938" cy="400050"/>
            </a:xfrm>
            <a:custGeom>
              <a:avLst/>
              <a:gdLst>
                <a:gd name="T0" fmla="*/ 288 w 1215"/>
                <a:gd name="T1" fmla="*/ 151 h 757"/>
                <a:gd name="T2" fmla="*/ 173 w 1215"/>
                <a:gd name="T3" fmla="*/ 606 h 757"/>
                <a:gd name="T4" fmla="*/ 1039 w 1215"/>
                <a:gd name="T5" fmla="*/ 606 h 757"/>
                <a:gd name="T6" fmla="*/ 924 w 1215"/>
                <a:gd name="T7" fmla="*/ 151 h 757"/>
                <a:gd name="T8" fmla="*/ 288 w 1215"/>
                <a:gd name="T9" fmla="*/ 151 h 757"/>
                <a:gd name="T10" fmla="*/ 227 w 1215"/>
                <a:gd name="T11" fmla="*/ 0 h 757"/>
                <a:gd name="T12" fmla="*/ 985 w 1215"/>
                <a:gd name="T13" fmla="*/ 0 h 757"/>
                <a:gd name="T14" fmla="*/ 1007 w 1215"/>
                <a:gd name="T15" fmla="*/ 2 h 757"/>
                <a:gd name="T16" fmla="*/ 1026 w 1215"/>
                <a:gd name="T17" fmla="*/ 11 h 757"/>
                <a:gd name="T18" fmla="*/ 1042 w 1215"/>
                <a:gd name="T19" fmla="*/ 23 h 757"/>
                <a:gd name="T20" fmla="*/ 1054 w 1215"/>
                <a:gd name="T21" fmla="*/ 39 h 757"/>
                <a:gd name="T22" fmla="*/ 1061 w 1215"/>
                <a:gd name="T23" fmla="*/ 60 h 757"/>
                <a:gd name="T24" fmla="*/ 1212 w 1215"/>
                <a:gd name="T25" fmla="*/ 666 h 757"/>
                <a:gd name="T26" fmla="*/ 1215 w 1215"/>
                <a:gd name="T27" fmla="*/ 690 h 757"/>
                <a:gd name="T28" fmla="*/ 1210 w 1215"/>
                <a:gd name="T29" fmla="*/ 712 h 757"/>
                <a:gd name="T30" fmla="*/ 1197 w 1215"/>
                <a:gd name="T31" fmla="*/ 735 h 757"/>
                <a:gd name="T32" fmla="*/ 1179 w 1215"/>
                <a:gd name="T33" fmla="*/ 747 h 757"/>
                <a:gd name="T34" fmla="*/ 1159 w 1215"/>
                <a:gd name="T35" fmla="*/ 756 h 757"/>
                <a:gd name="T36" fmla="*/ 1137 w 1215"/>
                <a:gd name="T37" fmla="*/ 757 h 757"/>
                <a:gd name="T38" fmla="*/ 75 w 1215"/>
                <a:gd name="T39" fmla="*/ 757 h 757"/>
                <a:gd name="T40" fmla="*/ 59 w 1215"/>
                <a:gd name="T41" fmla="*/ 756 h 757"/>
                <a:gd name="T42" fmla="*/ 42 w 1215"/>
                <a:gd name="T43" fmla="*/ 751 h 757"/>
                <a:gd name="T44" fmla="*/ 27 w 1215"/>
                <a:gd name="T45" fmla="*/ 742 h 757"/>
                <a:gd name="T46" fmla="*/ 15 w 1215"/>
                <a:gd name="T47" fmla="*/ 727 h 757"/>
                <a:gd name="T48" fmla="*/ 6 w 1215"/>
                <a:gd name="T49" fmla="*/ 714 h 757"/>
                <a:gd name="T50" fmla="*/ 1 w 1215"/>
                <a:gd name="T51" fmla="*/ 699 h 757"/>
                <a:gd name="T52" fmla="*/ 0 w 1215"/>
                <a:gd name="T53" fmla="*/ 684 h 757"/>
                <a:gd name="T54" fmla="*/ 0 w 1215"/>
                <a:gd name="T55" fmla="*/ 666 h 757"/>
                <a:gd name="T56" fmla="*/ 151 w 1215"/>
                <a:gd name="T57" fmla="*/ 60 h 757"/>
                <a:gd name="T58" fmla="*/ 158 w 1215"/>
                <a:gd name="T59" fmla="*/ 42 h 757"/>
                <a:gd name="T60" fmla="*/ 170 w 1215"/>
                <a:gd name="T61" fmla="*/ 26 h 757"/>
                <a:gd name="T62" fmla="*/ 186 w 1215"/>
                <a:gd name="T63" fmla="*/ 13 h 757"/>
                <a:gd name="T64" fmla="*/ 205 w 1215"/>
                <a:gd name="T65" fmla="*/ 4 h 757"/>
                <a:gd name="T66" fmla="*/ 227 w 1215"/>
                <a:gd name="T67" fmla="*/ 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15" h="757">
                  <a:moveTo>
                    <a:pt x="288" y="151"/>
                  </a:moveTo>
                  <a:lnTo>
                    <a:pt x="173" y="606"/>
                  </a:lnTo>
                  <a:lnTo>
                    <a:pt x="1039" y="606"/>
                  </a:lnTo>
                  <a:lnTo>
                    <a:pt x="924" y="151"/>
                  </a:lnTo>
                  <a:lnTo>
                    <a:pt x="288" y="151"/>
                  </a:lnTo>
                  <a:close/>
                  <a:moveTo>
                    <a:pt x="227" y="0"/>
                  </a:moveTo>
                  <a:lnTo>
                    <a:pt x="985" y="0"/>
                  </a:lnTo>
                  <a:lnTo>
                    <a:pt x="1007" y="2"/>
                  </a:lnTo>
                  <a:lnTo>
                    <a:pt x="1026" y="11"/>
                  </a:lnTo>
                  <a:lnTo>
                    <a:pt x="1042" y="23"/>
                  </a:lnTo>
                  <a:lnTo>
                    <a:pt x="1054" y="39"/>
                  </a:lnTo>
                  <a:lnTo>
                    <a:pt x="1061" y="60"/>
                  </a:lnTo>
                  <a:lnTo>
                    <a:pt x="1212" y="666"/>
                  </a:lnTo>
                  <a:lnTo>
                    <a:pt x="1215" y="690"/>
                  </a:lnTo>
                  <a:lnTo>
                    <a:pt x="1210" y="712"/>
                  </a:lnTo>
                  <a:lnTo>
                    <a:pt x="1197" y="735"/>
                  </a:lnTo>
                  <a:lnTo>
                    <a:pt x="1179" y="747"/>
                  </a:lnTo>
                  <a:lnTo>
                    <a:pt x="1159" y="756"/>
                  </a:lnTo>
                  <a:lnTo>
                    <a:pt x="1137" y="757"/>
                  </a:lnTo>
                  <a:lnTo>
                    <a:pt x="75" y="757"/>
                  </a:lnTo>
                  <a:lnTo>
                    <a:pt x="59" y="756"/>
                  </a:lnTo>
                  <a:lnTo>
                    <a:pt x="42" y="751"/>
                  </a:lnTo>
                  <a:lnTo>
                    <a:pt x="27" y="742"/>
                  </a:lnTo>
                  <a:lnTo>
                    <a:pt x="15" y="727"/>
                  </a:lnTo>
                  <a:lnTo>
                    <a:pt x="6" y="714"/>
                  </a:lnTo>
                  <a:lnTo>
                    <a:pt x="1" y="699"/>
                  </a:lnTo>
                  <a:lnTo>
                    <a:pt x="0" y="684"/>
                  </a:lnTo>
                  <a:lnTo>
                    <a:pt x="0" y="666"/>
                  </a:lnTo>
                  <a:lnTo>
                    <a:pt x="151" y="60"/>
                  </a:lnTo>
                  <a:lnTo>
                    <a:pt x="158" y="42"/>
                  </a:lnTo>
                  <a:lnTo>
                    <a:pt x="170" y="26"/>
                  </a:lnTo>
                  <a:lnTo>
                    <a:pt x="186" y="13"/>
                  </a:lnTo>
                  <a:lnTo>
                    <a:pt x="205" y="4"/>
                  </a:lnTo>
                  <a:lnTo>
                    <a:pt x="22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87" name="Freeform 13"/>
            <p:cNvSpPr>
              <a:spLocks noEditPoints="1"/>
            </p:cNvSpPr>
            <p:nvPr/>
          </p:nvSpPr>
          <p:spPr bwMode="auto">
            <a:xfrm>
              <a:off x="1152525" y="1400175"/>
              <a:ext cx="2406650" cy="1443038"/>
            </a:xfrm>
            <a:custGeom>
              <a:avLst/>
              <a:gdLst>
                <a:gd name="T0" fmla="*/ 340 w 4548"/>
                <a:gd name="T1" fmla="*/ 152 h 2727"/>
                <a:gd name="T2" fmla="*/ 302 w 4548"/>
                <a:gd name="T3" fmla="*/ 156 h 2727"/>
                <a:gd name="T4" fmla="*/ 267 w 4548"/>
                <a:gd name="T5" fmla="*/ 167 h 2727"/>
                <a:gd name="T6" fmla="*/ 234 w 4548"/>
                <a:gd name="T7" fmla="*/ 185 h 2727"/>
                <a:gd name="T8" fmla="*/ 207 w 4548"/>
                <a:gd name="T9" fmla="*/ 207 h 2727"/>
                <a:gd name="T10" fmla="*/ 183 w 4548"/>
                <a:gd name="T11" fmla="*/ 236 h 2727"/>
                <a:gd name="T12" fmla="*/ 167 w 4548"/>
                <a:gd name="T13" fmla="*/ 267 h 2727"/>
                <a:gd name="T14" fmla="*/ 156 w 4548"/>
                <a:gd name="T15" fmla="*/ 303 h 2727"/>
                <a:gd name="T16" fmla="*/ 152 w 4548"/>
                <a:gd name="T17" fmla="*/ 342 h 2727"/>
                <a:gd name="T18" fmla="*/ 152 w 4548"/>
                <a:gd name="T19" fmla="*/ 2576 h 2727"/>
                <a:gd name="T20" fmla="*/ 4396 w 4548"/>
                <a:gd name="T21" fmla="*/ 2576 h 2727"/>
                <a:gd name="T22" fmla="*/ 4396 w 4548"/>
                <a:gd name="T23" fmla="*/ 342 h 2727"/>
                <a:gd name="T24" fmla="*/ 4392 w 4548"/>
                <a:gd name="T25" fmla="*/ 303 h 2727"/>
                <a:gd name="T26" fmla="*/ 4381 w 4548"/>
                <a:gd name="T27" fmla="*/ 267 h 2727"/>
                <a:gd name="T28" fmla="*/ 4365 w 4548"/>
                <a:gd name="T29" fmla="*/ 236 h 2727"/>
                <a:gd name="T30" fmla="*/ 4341 w 4548"/>
                <a:gd name="T31" fmla="*/ 207 h 2727"/>
                <a:gd name="T32" fmla="*/ 4314 w 4548"/>
                <a:gd name="T33" fmla="*/ 185 h 2727"/>
                <a:gd name="T34" fmla="*/ 4281 w 4548"/>
                <a:gd name="T35" fmla="*/ 167 h 2727"/>
                <a:gd name="T36" fmla="*/ 4246 w 4548"/>
                <a:gd name="T37" fmla="*/ 156 h 2727"/>
                <a:gd name="T38" fmla="*/ 4208 w 4548"/>
                <a:gd name="T39" fmla="*/ 152 h 2727"/>
                <a:gd name="T40" fmla="*/ 340 w 4548"/>
                <a:gd name="T41" fmla="*/ 152 h 2727"/>
                <a:gd name="T42" fmla="*/ 340 w 4548"/>
                <a:gd name="T43" fmla="*/ 0 h 2727"/>
                <a:gd name="T44" fmla="*/ 4208 w 4548"/>
                <a:gd name="T45" fmla="*/ 0 h 2727"/>
                <a:gd name="T46" fmla="*/ 4257 w 4548"/>
                <a:gd name="T47" fmla="*/ 4 h 2727"/>
                <a:gd name="T48" fmla="*/ 4305 w 4548"/>
                <a:gd name="T49" fmla="*/ 15 h 2727"/>
                <a:gd name="T50" fmla="*/ 4351 w 4548"/>
                <a:gd name="T51" fmla="*/ 32 h 2727"/>
                <a:gd name="T52" fmla="*/ 4394 w 4548"/>
                <a:gd name="T53" fmla="*/ 55 h 2727"/>
                <a:gd name="T54" fmla="*/ 4431 w 4548"/>
                <a:gd name="T55" fmla="*/ 84 h 2727"/>
                <a:gd name="T56" fmla="*/ 4465 w 4548"/>
                <a:gd name="T57" fmla="*/ 117 h 2727"/>
                <a:gd name="T58" fmla="*/ 4493 w 4548"/>
                <a:gd name="T59" fmla="*/ 156 h 2727"/>
                <a:gd name="T60" fmla="*/ 4516 w 4548"/>
                <a:gd name="T61" fmla="*/ 197 h 2727"/>
                <a:gd name="T62" fmla="*/ 4534 w 4548"/>
                <a:gd name="T63" fmla="*/ 242 h 2727"/>
                <a:gd name="T64" fmla="*/ 4544 w 4548"/>
                <a:gd name="T65" fmla="*/ 291 h 2727"/>
                <a:gd name="T66" fmla="*/ 4548 w 4548"/>
                <a:gd name="T67" fmla="*/ 342 h 2727"/>
                <a:gd name="T68" fmla="*/ 4548 w 4548"/>
                <a:gd name="T69" fmla="*/ 2651 h 2727"/>
                <a:gd name="T70" fmla="*/ 4544 w 4548"/>
                <a:gd name="T71" fmla="*/ 2677 h 2727"/>
                <a:gd name="T72" fmla="*/ 4534 w 4548"/>
                <a:gd name="T73" fmla="*/ 2698 h 2727"/>
                <a:gd name="T74" fmla="*/ 4519 w 4548"/>
                <a:gd name="T75" fmla="*/ 2715 h 2727"/>
                <a:gd name="T76" fmla="*/ 4497 w 4548"/>
                <a:gd name="T77" fmla="*/ 2724 h 2727"/>
                <a:gd name="T78" fmla="*/ 4472 w 4548"/>
                <a:gd name="T79" fmla="*/ 2727 h 2727"/>
                <a:gd name="T80" fmla="*/ 76 w 4548"/>
                <a:gd name="T81" fmla="*/ 2727 h 2727"/>
                <a:gd name="T82" fmla="*/ 51 w 4548"/>
                <a:gd name="T83" fmla="*/ 2724 h 2727"/>
                <a:gd name="T84" fmla="*/ 29 w 4548"/>
                <a:gd name="T85" fmla="*/ 2715 h 2727"/>
                <a:gd name="T86" fmla="*/ 14 w 4548"/>
                <a:gd name="T87" fmla="*/ 2698 h 2727"/>
                <a:gd name="T88" fmla="*/ 4 w 4548"/>
                <a:gd name="T89" fmla="*/ 2677 h 2727"/>
                <a:gd name="T90" fmla="*/ 0 w 4548"/>
                <a:gd name="T91" fmla="*/ 2651 h 2727"/>
                <a:gd name="T92" fmla="*/ 0 w 4548"/>
                <a:gd name="T93" fmla="*/ 342 h 2727"/>
                <a:gd name="T94" fmla="*/ 4 w 4548"/>
                <a:gd name="T95" fmla="*/ 291 h 2727"/>
                <a:gd name="T96" fmla="*/ 14 w 4548"/>
                <a:gd name="T97" fmla="*/ 242 h 2727"/>
                <a:gd name="T98" fmla="*/ 32 w 4548"/>
                <a:gd name="T99" fmla="*/ 197 h 2727"/>
                <a:gd name="T100" fmla="*/ 55 w 4548"/>
                <a:gd name="T101" fmla="*/ 156 h 2727"/>
                <a:gd name="T102" fmla="*/ 83 w 4548"/>
                <a:gd name="T103" fmla="*/ 117 h 2727"/>
                <a:gd name="T104" fmla="*/ 117 w 4548"/>
                <a:gd name="T105" fmla="*/ 84 h 2727"/>
                <a:gd name="T106" fmla="*/ 154 w 4548"/>
                <a:gd name="T107" fmla="*/ 55 h 2727"/>
                <a:gd name="T108" fmla="*/ 197 w 4548"/>
                <a:gd name="T109" fmla="*/ 32 h 2727"/>
                <a:gd name="T110" fmla="*/ 243 w 4548"/>
                <a:gd name="T111" fmla="*/ 15 h 2727"/>
                <a:gd name="T112" fmla="*/ 291 w 4548"/>
                <a:gd name="T113" fmla="*/ 4 h 2727"/>
                <a:gd name="T114" fmla="*/ 340 w 4548"/>
                <a:gd name="T115" fmla="*/ 0 h 2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48" h="2727">
                  <a:moveTo>
                    <a:pt x="340" y="152"/>
                  </a:moveTo>
                  <a:lnTo>
                    <a:pt x="302" y="156"/>
                  </a:lnTo>
                  <a:lnTo>
                    <a:pt x="267" y="167"/>
                  </a:lnTo>
                  <a:lnTo>
                    <a:pt x="234" y="185"/>
                  </a:lnTo>
                  <a:lnTo>
                    <a:pt x="207" y="207"/>
                  </a:lnTo>
                  <a:lnTo>
                    <a:pt x="183" y="236"/>
                  </a:lnTo>
                  <a:lnTo>
                    <a:pt x="167" y="267"/>
                  </a:lnTo>
                  <a:lnTo>
                    <a:pt x="156" y="303"/>
                  </a:lnTo>
                  <a:lnTo>
                    <a:pt x="152" y="342"/>
                  </a:lnTo>
                  <a:lnTo>
                    <a:pt x="152" y="2576"/>
                  </a:lnTo>
                  <a:lnTo>
                    <a:pt x="4396" y="2576"/>
                  </a:lnTo>
                  <a:lnTo>
                    <a:pt x="4396" y="342"/>
                  </a:lnTo>
                  <a:lnTo>
                    <a:pt x="4392" y="303"/>
                  </a:lnTo>
                  <a:lnTo>
                    <a:pt x="4381" y="267"/>
                  </a:lnTo>
                  <a:lnTo>
                    <a:pt x="4365" y="236"/>
                  </a:lnTo>
                  <a:lnTo>
                    <a:pt x="4341" y="207"/>
                  </a:lnTo>
                  <a:lnTo>
                    <a:pt x="4314" y="185"/>
                  </a:lnTo>
                  <a:lnTo>
                    <a:pt x="4281" y="167"/>
                  </a:lnTo>
                  <a:lnTo>
                    <a:pt x="4246" y="156"/>
                  </a:lnTo>
                  <a:lnTo>
                    <a:pt x="4208" y="152"/>
                  </a:lnTo>
                  <a:lnTo>
                    <a:pt x="340" y="152"/>
                  </a:lnTo>
                  <a:close/>
                  <a:moveTo>
                    <a:pt x="340" y="0"/>
                  </a:moveTo>
                  <a:lnTo>
                    <a:pt x="4208" y="0"/>
                  </a:lnTo>
                  <a:lnTo>
                    <a:pt x="4257" y="4"/>
                  </a:lnTo>
                  <a:lnTo>
                    <a:pt x="4305" y="15"/>
                  </a:lnTo>
                  <a:lnTo>
                    <a:pt x="4351" y="32"/>
                  </a:lnTo>
                  <a:lnTo>
                    <a:pt x="4394" y="55"/>
                  </a:lnTo>
                  <a:lnTo>
                    <a:pt x="4431" y="84"/>
                  </a:lnTo>
                  <a:lnTo>
                    <a:pt x="4465" y="117"/>
                  </a:lnTo>
                  <a:lnTo>
                    <a:pt x="4493" y="156"/>
                  </a:lnTo>
                  <a:lnTo>
                    <a:pt x="4516" y="197"/>
                  </a:lnTo>
                  <a:lnTo>
                    <a:pt x="4534" y="242"/>
                  </a:lnTo>
                  <a:lnTo>
                    <a:pt x="4544" y="291"/>
                  </a:lnTo>
                  <a:lnTo>
                    <a:pt x="4548" y="342"/>
                  </a:lnTo>
                  <a:lnTo>
                    <a:pt x="4548" y="2651"/>
                  </a:lnTo>
                  <a:lnTo>
                    <a:pt x="4544" y="2677"/>
                  </a:lnTo>
                  <a:lnTo>
                    <a:pt x="4534" y="2698"/>
                  </a:lnTo>
                  <a:lnTo>
                    <a:pt x="4519" y="2715"/>
                  </a:lnTo>
                  <a:lnTo>
                    <a:pt x="4497" y="2724"/>
                  </a:lnTo>
                  <a:lnTo>
                    <a:pt x="4472" y="2727"/>
                  </a:lnTo>
                  <a:lnTo>
                    <a:pt x="76" y="2727"/>
                  </a:lnTo>
                  <a:lnTo>
                    <a:pt x="51" y="2724"/>
                  </a:lnTo>
                  <a:lnTo>
                    <a:pt x="29" y="2715"/>
                  </a:lnTo>
                  <a:lnTo>
                    <a:pt x="14" y="2698"/>
                  </a:lnTo>
                  <a:lnTo>
                    <a:pt x="4" y="2677"/>
                  </a:lnTo>
                  <a:lnTo>
                    <a:pt x="0" y="2651"/>
                  </a:lnTo>
                  <a:lnTo>
                    <a:pt x="0" y="342"/>
                  </a:lnTo>
                  <a:lnTo>
                    <a:pt x="4" y="291"/>
                  </a:lnTo>
                  <a:lnTo>
                    <a:pt x="14" y="242"/>
                  </a:lnTo>
                  <a:lnTo>
                    <a:pt x="32" y="197"/>
                  </a:lnTo>
                  <a:lnTo>
                    <a:pt x="55" y="156"/>
                  </a:lnTo>
                  <a:lnTo>
                    <a:pt x="83" y="117"/>
                  </a:lnTo>
                  <a:lnTo>
                    <a:pt x="117" y="84"/>
                  </a:lnTo>
                  <a:lnTo>
                    <a:pt x="154" y="55"/>
                  </a:lnTo>
                  <a:lnTo>
                    <a:pt x="197" y="32"/>
                  </a:lnTo>
                  <a:lnTo>
                    <a:pt x="243" y="15"/>
                  </a:lnTo>
                  <a:lnTo>
                    <a:pt x="291" y="4"/>
                  </a:lnTo>
                  <a:lnTo>
                    <a:pt x="34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88" name="Freeform 14"/>
            <p:cNvSpPr>
              <a:spLocks noEditPoints="1"/>
            </p:cNvSpPr>
            <p:nvPr/>
          </p:nvSpPr>
          <p:spPr bwMode="auto">
            <a:xfrm>
              <a:off x="1152525" y="2763838"/>
              <a:ext cx="2406650" cy="400050"/>
            </a:xfrm>
            <a:custGeom>
              <a:avLst/>
              <a:gdLst>
                <a:gd name="T0" fmla="*/ 152 w 4548"/>
                <a:gd name="T1" fmla="*/ 151 h 757"/>
                <a:gd name="T2" fmla="*/ 152 w 4548"/>
                <a:gd name="T3" fmla="*/ 417 h 757"/>
                <a:gd name="T4" fmla="*/ 156 w 4548"/>
                <a:gd name="T5" fmla="*/ 455 h 757"/>
                <a:gd name="T6" fmla="*/ 167 w 4548"/>
                <a:gd name="T7" fmla="*/ 491 h 757"/>
                <a:gd name="T8" fmla="*/ 183 w 4548"/>
                <a:gd name="T9" fmla="*/ 523 h 757"/>
                <a:gd name="T10" fmla="*/ 207 w 4548"/>
                <a:gd name="T11" fmla="*/ 552 h 757"/>
                <a:gd name="T12" fmla="*/ 234 w 4548"/>
                <a:gd name="T13" fmla="*/ 574 h 757"/>
                <a:gd name="T14" fmla="*/ 267 w 4548"/>
                <a:gd name="T15" fmla="*/ 592 h 757"/>
                <a:gd name="T16" fmla="*/ 302 w 4548"/>
                <a:gd name="T17" fmla="*/ 603 h 757"/>
                <a:gd name="T18" fmla="*/ 340 w 4548"/>
                <a:gd name="T19" fmla="*/ 606 h 757"/>
                <a:gd name="T20" fmla="*/ 4208 w 4548"/>
                <a:gd name="T21" fmla="*/ 606 h 757"/>
                <a:gd name="T22" fmla="*/ 4246 w 4548"/>
                <a:gd name="T23" fmla="*/ 603 h 757"/>
                <a:gd name="T24" fmla="*/ 4281 w 4548"/>
                <a:gd name="T25" fmla="*/ 592 h 757"/>
                <a:gd name="T26" fmla="*/ 4314 w 4548"/>
                <a:gd name="T27" fmla="*/ 574 h 757"/>
                <a:gd name="T28" fmla="*/ 4341 w 4548"/>
                <a:gd name="T29" fmla="*/ 552 h 757"/>
                <a:gd name="T30" fmla="*/ 4365 w 4548"/>
                <a:gd name="T31" fmla="*/ 523 h 757"/>
                <a:gd name="T32" fmla="*/ 4381 w 4548"/>
                <a:gd name="T33" fmla="*/ 491 h 757"/>
                <a:gd name="T34" fmla="*/ 4392 w 4548"/>
                <a:gd name="T35" fmla="*/ 455 h 757"/>
                <a:gd name="T36" fmla="*/ 4396 w 4548"/>
                <a:gd name="T37" fmla="*/ 417 h 757"/>
                <a:gd name="T38" fmla="*/ 4396 w 4548"/>
                <a:gd name="T39" fmla="*/ 151 h 757"/>
                <a:gd name="T40" fmla="*/ 152 w 4548"/>
                <a:gd name="T41" fmla="*/ 151 h 757"/>
                <a:gd name="T42" fmla="*/ 76 w 4548"/>
                <a:gd name="T43" fmla="*/ 0 h 757"/>
                <a:gd name="T44" fmla="*/ 4472 w 4548"/>
                <a:gd name="T45" fmla="*/ 0 h 757"/>
                <a:gd name="T46" fmla="*/ 4497 w 4548"/>
                <a:gd name="T47" fmla="*/ 4 h 757"/>
                <a:gd name="T48" fmla="*/ 4519 w 4548"/>
                <a:gd name="T49" fmla="*/ 13 h 757"/>
                <a:gd name="T50" fmla="*/ 4534 w 4548"/>
                <a:gd name="T51" fmla="*/ 30 h 757"/>
                <a:gd name="T52" fmla="*/ 4544 w 4548"/>
                <a:gd name="T53" fmla="*/ 50 h 757"/>
                <a:gd name="T54" fmla="*/ 4548 w 4548"/>
                <a:gd name="T55" fmla="*/ 75 h 757"/>
                <a:gd name="T56" fmla="*/ 4548 w 4548"/>
                <a:gd name="T57" fmla="*/ 417 h 757"/>
                <a:gd name="T58" fmla="*/ 4544 w 4548"/>
                <a:gd name="T59" fmla="*/ 468 h 757"/>
                <a:gd name="T60" fmla="*/ 4534 w 4548"/>
                <a:gd name="T61" fmla="*/ 516 h 757"/>
                <a:gd name="T62" fmla="*/ 4516 w 4548"/>
                <a:gd name="T63" fmla="*/ 561 h 757"/>
                <a:gd name="T64" fmla="*/ 4493 w 4548"/>
                <a:gd name="T65" fmla="*/ 603 h 757"/>
                <a:gd name="T66" fmla="*/ 4465 w 4548"/>
                <a:gd name="T67" fmla="*/ 641 h 757"/>
                <a:gd name="T68" fmla="*/ 4431 w 4548"/>
                <a:gd name="T69" fmla="*/ 674 h 757"/>
                <a:gd name="T70" fmla="*/ 4394 w 4548"/>
                <a:gd name="T71" fmla="*/ 703 h 757"/>
                <a:gd name="T72" fmla="*/ 4351 w 4548"/>
                <a:gd name="T73" fmla="*/ 727 h 757"/>
                <a:gd name="T74" fmla="*/ 4305 w 4548"/>
                <a:gd name="T75" fmla="*/ 743 h 757"/>
                <a:gd name="T76" fmla="*/ 4257 w 4548"/>
                <a:gd name="T77" fmla="*/ 754 h 757"/>
                <a:gd name="T78" fmla="*/ 4208 w 4548"/>
                <a:gd name="T79" fmla="*/ 757 h 757"/>
                <a:gd name="T80" fmla="*/ 340 w 4548"/>
                <a:gd name="T81" fmla="*/ 757 h 757"/>
                <a:gd name="T82" fmla="*/ 291 w 4548"/>
                <a:gd name="T83" fmla="*/ 754 h 757"/>
                <a:gd name="T84" fmla="*/ 243 w 4548"/>
                <a:gd name="T85" fmla="*/ 743 h 757"/>
                <a:gd name="T86" fmla="*/ 197 w 4548"/>
                <a:gd name="T87" fmla="*/ 727 h 757"/>
                <a:gd name="T88" fmla="*/ 154 w 4548"/>
                <a:gd name="T89" fmla="*/ 703 h 757"/>
                <a:gd name="T90" fmla="*/ 117 w 4548"/>
                <a:gd name="T91" fmla="*/ 674 h 757"/>
                <a:gd name="T92" fmla="*/ 83 w 4548"/>
                <a:gd name="T93" fmla="*/ 641 h 757"/>
                <a:gd name="T94" fmla="*/ 55 w 4548"/>
                <a:gd name="T95" fmla="*/ 603 h 757"/>
                <a:gd name="T96" fmla="*/ 32 w 4548"/>
                <a:gd name="T97" fmla="*/ 561 h 757"/>
                <a:gd name="T98" fmla="*/ 14 w 4548"/>
                <a:gd name="T99" fmla="*/ 516 h 757"/>
                <a:gd name="T100" fmla="*/ 4 w 4548"/>
                <a:gd name="T101" fmla="*/ 468 h 757"/>
                <a:gd name="T102" fmla="*/ 0 w 4548"/>
                <a:gd name="T103" fmla="*/ 417 h 757"/>
                <a:gd name="T104" fmla="*/ 0 w 4548"/>
                <a:gd name="T105" fmla="*/ 75 h 757"/>
                <a:gd name="T106" fmla="*/ 4 w 4548"/>
                <a:gd name="T107" fmla="*/ 50 h 757"/>
                <a:gd name="T108" fmla="*/ 14 w 4548"/>
                <a:gd name="T109" fmla="*/ 30 h 757"/>
                <a:gd name="T110" fmla="*/ 29 w 4548"/>
                <a:gd name="T111" fmla="*/ 13 h 757"/>
                <a:gd name="T112" fmla="*/ 51 w 4548"/>
                <a:gd name="T113" fmla="*/ 4 h 757"/>
                <a:gd name="T114" fmla="*/ 76 w 4548"/>
                <a:gd name="T115" fmla="*/ 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48" h="757">
                  <a:moveTo>
                    <a:pt x="152" y="151"/>
                  </a:moveTo>
                  <a:lnTo>
                    <a:pt x="152" y="417"/>
                  </a:lnTo>
                  <a:lnTo>
                    <a:pt x="156" y="455"/>
                  </a:lnTo>
                  <a:lnTo>
                    <a:pt x="167" y="491"/>
                  </a:lnTo>
                  <a:lnTo>
                    <a:pt x="183" y="523"/>
                  </a:lnTo>
                  <a:lnTo>
                    <a:pt x="207" y="552"/>
                  </a:lnTo>
                  <a:lnTo>
                    <a:pt x="234" y="574"/>
                  </a:lnTo>
                  <a:lnTo>
                    <a:pt x="267" y="592"/>
                  </a:lnTo>
                  <a:lnTo>
                    <a:pt x="302" y="603"/>
                  </a:lnTo>
                  <a:lnTo>
                    <a:pt x="340" y="606"/>
                  </a:lnTo>
                  <a:lnTo>
                    <a:pt x="4208" y="606"/>
                  </a:lnTo>
                  <a:lnTo>
                    <a:pt x="4246" y="603"/>
                  </a:lnTo>
                  <a:lnTo>
                    <a:pt x="4281" y="592"/>
                  </a:lnTo>
                  <a:lnTo>
                    <a:pt x="4314" y="574"/>
                  </a:lnTo>
                  <a:lnTo>
                    <a:pt x="4341" y="552"/>
                  </a:lnTo>
                  <a:lnTo>
                    <a:pt x="4365" y="523"/>
                  </a:lnTo>
                  <a:lnTo>
                    <a:pt x="4381" y="491"/>
                  </a:lnTo>
                  <a:lnTo>
                    <a:pt x="4392" y="455"/>
                  </a:lnTo>
                  <a:lnTo>
                    <a:pt x="4396" y="417"/>
                  </a:lnTo>
                  <a:lnTo>
                    <a:pt x="4396" y="151"/>
                  </a:lnTo>
                  <a:lnTo>
                    <a:pt x="152" y="151"/>
                  </a:lnTo>
                  <a:close/>
                  <a:moveTo>
                    <a:pt x="76" y="0"/>
                  </a:moveTo>
                  <a:lnTo>
                    <a:pt x="4472" y="0"/>
                  </a:lnTo>
                  <a:lnTo>
                    <a:pt x="4497" y="4"/>
                  </a:lnTo>
                  <a:lnTo>
                    <a:pt x="4519" y="13"/>
                  </a:lnTo>
                  <a:lnTo>
                    <a:pt x="4534" y="30"/>
                  </a:lnTo>
                  <a:lnTo>
                    <a:pt x="4544" y="50"/>
                  </a:lnTo>
                  <a:lnTo>
                    <a:pt x="4548" y="75"/>
                  </a:lnTo>
                  <a:lnTo>
                    <a:pt x="4548" y="417"/>
                  </a:lnTo>
                  <a:lnTo>
                    <a:pt x="4544" y="468"/>
                  </a:lnTo>
                  <a:lnTo>
                    <a:pt x="4534" y="516"/>
                  </a:lnTo>
                  <a:lnTo>
                    <a:pt x="4516" y="561"/>
                  </a:lnTo>
                  <a:lnTo>
                    <a:pt x="4493" y="603"/>
                  </a:lnTo>
                  <a:lnTo>
                    <a:pt x="4465" y="641"/>
                  </a:lnTo>
                  <a:lnTo>
                    <a:pt x="4431" y="674"/>
                  </a:lnTo>
                  <a:lnTo>
                    <a:pt x="4394" y="703"/>
                  </a:lnTo>
                  <a:lnTo>
                    <a:pt x="4351" y="727"/>
                  </a:lnTo>
                  <a:lnTo>
                    <a:pt x="4305" y="743"/>
                  </a:lnTo>
                  <a:lnTo>
                    <a:pt x="4257" y="754"/>
                  </a:lnTo>
                  <a:lnTo>
                    <a:pt x="4208" y="757"/>
                  </a:lnTo>
                  <a:lnTo>
                    <a:pt x="340" y="757"/>
                  </a:lnTo>
                  <a:lnTo>
                    <a:pt x="291" y="754"/>
                  </a:lnTo>
                  <a:lnTo>
                    <a:pt x="243" y="743"/>
                  </a:lnTo>
                  <a:lnTo>
                    <a:pt x="197" y="727"/>
                  </a:lnTo>
                  <a:lnTo>
                    <a:pt x="154" y="703"/>
                  </a:lnTo>
                  <a:lnTo>
                    <a:pt x="117" y="674"/>
                  </a:lnTo>
                  <a:lnTo>
                    <a:pt x="83" y="641"/>
                  </a:lnTo>
                  <a:lnTo>
                    <a:pt x="55" y="603"/>
                  </a:lnTo>
                  <a:lnTo>
                    <a:pt x="32" y="561"/>
                  </a:lnTo>
                  <a:lnTo>
                    <a:pt x="14" y="516"/>
                  </a:lnTo>
                  <a:lnTo>
                    <a:pt x="4" y="468"/>
                  </a:lnTo>
                  <a:lnTo>
                    <a:pt x="0" y="417"/>
                  </a:lnTo>
                  <a:lnTo>
                    <a:pt x="0" y="75"/>
                  </a:lnTo>
                  <a:lnTo>
                    <a:pt x="4" y="50"/>
                  </a:lnTo>
                  <a:lnTo>
                    <a:pt x="14" y="30"/>
                  </a:lnTo>
                  <a:lnTo>
                    <a:pt x="29" y="13"/>
                  </a:lnTo>
                  <a:lnTo>
                    <a:pt x="51" y="4"/>
                  </a:lnTo>
                  <a:lnTo>
                    <a:pt x="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89" name="Freeform 15"/>
            <p:cNvSpPr>
              <a:spLocks noEditPoints="1"/>
            </p:cNvSpPr>
            <p:nvPr/>
          </p:nvSpPr>
          <p:spPr bwMode="auto">
            <a:xfrm>
              <a:off x="1793875" y="2041525"/>
              <a:ext cx="320675" cy="320675"/>
            </a:xfrm>
            <a:custGeom>
              <a:avLst/>
              <a:gdLst>
                <a:gd name="T0" fmla="*/ 269 w 606"/>
                <a:gd name="T1" fmla="*/ 156 h 606"/>
                <a:gd name="T2" fmla="*/ 208 w 606"/>
                <a:gd name="T3" fmla="*/ 186 h 606"/>
                <a:gd name="T4" fmla="*/ 167 w 606"/>
                <a:gd name="T5" fmla="*/ 237 h 606"/>
                <a:gd name="T6" fmla="*/ 151 w 606"/>
                <a:gd name="T7" fmla="*/ 303 h 606"/>
                <a:gd name="T8" fmla="*/ 167 w 606"/>
                <a:gd name="T9" fmla="*/ 370 h 606"/>
                <a:gd name="T10" fmla="*/ 208 w 606"/>
                <a:gd name="T11" fmla="*/ 421 h 606"/>
                <a:gd name="T12" fmla="*/ 269 w 606"/>
                <a:gd name="T13" fmla="*/ 452 h 606"/>
                <a:gd name="T14" fmla="*/ 337 w 606"/>
                <a:gd name="T15" fmla="*/ 452 h 606"/>
                <a:gd name="T16" fmla="*/ 398 w 606"/>
                <a:gd name="T17" fmla="*/ 421 h 606"/>
                <a:gd name="T18" fmla="*/ 439 w 606"/>
                <a:gd name="T19" fmla="*/ 370 h 606"/>
                <a:gd name="T20" fmla="*/ 455 w 606"/>
                <a:gd name="T21" fmla="*/ 303 h 606"/>
                <a:gd name="T22" fmla="*/ 439 w 606"/>
                <a:gd name="T23" fmla="*/ 237 h 606"/>
                <a:gd name="T24" fmla="*/ 398 w 606"/>
                <a:gd name="T25" fmla="*/ 186 h 606"/>
                <a:gd name="T26" fmla="*/ 337 w 606"/>
                <a:gd name="T27" fmla="*/ 156 h 606"/>
                <a:gd name="T28" fmla="*/ 303 w 606"/>
                <a:gd name="T29" fmla="*/ 0 h 606"/>
                <a:gd name="T30" fmla="*/ 398 w 606"/>
                <a:gd name="T31" fmla="*/ 17 h 606"/>
                <a:gd name="T32" fmla="*/ 482 w 606"/>
                <a:gd name="T33" fmla="*/ 59 h 606"/>
                <a:gd name="T34" fmla="*/ 547 w 606"/>
                <a:gd name="T35" fmla="*/ 125 h 606"/>
                <a:gd name="T36" fmla="*/ 591 w 606"/>
                <a:gd name="T37" fmla="*/ 208 h 606"/>
                <a:gd name="T38" fmla="*/ 606 w 606"/>
                <a:gd name="T39" fmla="*/ 303 h 606"/>
                <a:gd name="T40" fmla="*/ 591 w 606"/>
                <a:gd name="T41" fmla="*/ 399 h 606"/>
                <a:gd name="T42" fmla="*/ 547 w 606"/>
                <a:gd name="T43" fmla="*/ 482 h 606"/>
                <a:gd name="T44" fmla="*/ 482 w 606"/>
                <a:gd name="T45" fmla="*/ 548 h 606"/>
                <a:gd name="T46" fmla="*/ 398 w 606"/>
                <a:gd name="T47" fmla="*/ 591 h 606"/>
                <a:gd name="T48" fmla="*/ 303 w 606"/>
                <a:gd name="T49" fmla="*/ 606 h 606"/>
                <a:gd name="T50" fmla="*/ 208 w 606"/>
                <a:gd name="T51" fmla="*/ 591 h 606"/>
                <a:gd name="T52" fmla="*/ 124 w 606"/>
                <a:gd name="T53" fmla="*/ 548 h 606"/>
                <a:gd name="T54" fmla="*/ 59 w 606"/>
                <a:gd name="T55" fmla="*/ 482 h 606"/>
                <a:gd name="T56" fmla="*/ 15 w 606"/>
                <a:gd name="T57" fmla="*/ 399 h 606"/>
                <a:gd name="T58" fmla="*/ 0 w 606"/>
                <a:gd name="T59" fmla="*/ 303 h 606"/>
                <a:gd name="T60" fmla="*/ 15 w 606"/>
                <a:gd name="T61" fmla="*/ 208 h 606"/>
                <a:gd name="T62" fmla="*/ 59 w 606"/>
                <a:gd name="T63" fmla="*/ 125 h 606"/>
                <a:gd name="T64" fmla="*/ 124 w 606"/>
                <a:gd name="T65" fmla="*/ 59 h 606"/>
                <a:gd name="T66" fmla="*/ 208 w 606"/>
                <a:gd name="T67" fmla="*/ 17 h 606"/>
                <a:gd name="T68" fmla="*/ 303 w 606"/>
                <a:gd name="T69" fmla="*/ 0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6" h="606">
                  <a:moveTo>
                    <a:pt x="303" y="152"/>
                  </a:moveTo>
                  <a:lnTo>
                    <a:pt x="269" y="156"/>
                  </a:lnTo>
                  <a:lnTo>
                    <a:pt x="237" y="168"/>
                  </a:lnTo>
                  <a:lnTo>
                    <a:pt x="208" y="186"/>
                  </a:lnTo>
                  <a:lnTo>
                    <a:pt x="184" y="209"/>
                  </a:lnTo>
                  <a:lnTo>
                    <a:pt x="167" y="237"/>
                  </a:lnTo>
                  <a:lnTo>
                    <a:pt x="156" y="269"/>
                  </a:lnTo>
                  <a:lnTo>
                    <a:pt x="151" y="303"/>
                  </a:lnTo>
                  <a:lnTo>
                    <a:pt x="156" y="339"/>
                  </a:lnTo>
                  <a:lnTo>
                    <a:pt x="167" y="370"/>
                  </a:lnTo>
                  <a:lnTo>
                    <a:pt x="184" y="398"/>
                  </a:lnTo>
                  <a:lnTo>
                    <a:pt x="208" y="421"/>
                  </a:lnTo>
                  <a:lnTo>
                    <a:pt x="237" y="439"/>
                  </a:lnTo>
                  <a:lnTo>
                    <a:pt x="269" y="452"/>
                  </a:lnTo>
                  <a:lnTo>
                    <a:pt x="303" y="455"/>
                  </a:lnTo>
                  <a:lnTo>
                    <a:pt x="337" y="452"/>
                  </a:lnTo>
                  <a:lnTo>
                    <a:pt x="369" y="439"/>
                  </a:lnTo>
                  <a:lnTo>
                    <a:pt x="398" y="421"/>
                  </a:lnTo>
                  <a:lnTo>
                    <a:pt x="422" y="398"/>
                  </a:lnTo>
                  <a:lnTo>
                    <a:pt x="439" y="370"/>
                  </a:lnTo>
                  <a:lnTo>
                    <a:pt x="450" y="339"/>
                  </a:lnTo>
                  <a:lnTo>
                    <a:pt x="455" y="303"/>
                  </a:lnTo>
                  <a:lnTo>
                    <a:pt x="450" y="269"/>
                  </a:lnTo>
                  <a:lnTo>
                    <a:pt x="439" y="237"/>
                  </a:lnTo>
                  <a:lnTo>
                    <a:pt x="422" y="209"/>
                  </a:lnTo>
                  <a:lnTo>
                    <a:pt x="398" y="186"/>
                  </a:lnTo>
                  <a:lnTo>
                    <a:pt x="369" y="168"/>
                  </a:lnTo>
                  <a:lnTo>
                    <a:pt x="337" y="156"/>
                  </a:lnTo>
                  <a:lnTo>
                    <a:pt x="303" y="152"/>
                  </a:lnTo>
                  <a:close/>
                  <a:moveTo>
                    <a:pt x="303" y="0"/>
                  </a:moveTo>
                  <a:lnTo>
                    <a:pt x="353" y="4"/>
                  </a:lnTo>
                  <a:lnTo>
                    <a:pt x="398" y="17"/>
                  </a:lnTo>
                  <a:lnTo>
                    <a:pt x="442" y="34"/>
                  </a:lnTo>
                  <a:lnTo>
                    <a:pt x="482" y="59"/>
                  </a:lnTo>
                  <a:lnTo>
                    <a:pt x="517" y="90"/>
                  </a:lnTo>
                  <a:lnTo>
                    <a:pt x="547" y="125"/>
                  </a:lnTo>
                  <a:lnTo>
                    <a:pt x="572" y="165"/>
                  </a:lnTo>
                  <a:lnTo>
                    <a:pt x="591" y="208"/>
                  </a:lnTo>
                  <a:lnTo>
                    <a:pt x="602" y="255"/>
                  </a:lnTo>
                  <a:lnTo>
                    <a:pt x="606" y="303"/>
                  </a:lnTo>
                  <a:lnTo>
                    <a:pt x="602" y="353"/>
                  </a:lnTo>
                  <a:lnTo>
                    <a:pt x="591" y="399"/>
                  </a:lnTo>
                  <a:lnTo>
                    <a:pt x="572" y="442"/>
                  </a:lnTo>
                  <a:lnTo>
                    <a:pt x="547" y="482"/>
                  </a:lnTo>
                  <a:lnTo>
                    <a:pt x="517" y="518"/>
                  </a:lnTo>
                  <a:lnTo>
                    <a:pt x="482" y="548"/>
                  </a:lnTo>
                  <a:lnTo>
                    <a:pt x="442" y="573"/>
                  </a:lnTo>
                  <a:lnTo>
                    <a:pt x="398" y="591"/>
                  </a:lnTo>
                  <a:lnTo>
                    <a:pt x="353" y="603"/>
                  </a:lnTo>
                  <a:lnTo>
                    <a:pt x="303" y="606"/>
                  </a:lnTo>
                  <a:lnTo>
                    <a:pt x="253" y="603"/>
                  </a:lnTo>
                  <a:lnTo>
                    <a:pt x="208" y="591"/>
                  </a:lnTo>
                  <a:lnTo>
                    <a:pt x="164" y="573"/>
                  </a:lnTo>
                  <a:lnTo>
                    <a:pt x="124" y="548"/>
                  </a:lnTo>
                  <a:lnTo>
                    <a:pt x="89" y="518"/>
                  </a:lnTo>
                  <a:lnTo>
                    <a:pt x="59" y="482"/>
                  </a:lnTo>
                  <a:lnTo>
                    <a:pt x="34" y="442"/>
                  </a:lnTo>
                  <a:lnTo>
                    <a:pt x="15" y="399"/>
                  </a:lnTo>
                  <a:lnTo>
                    <a:pt x="4" y="353"/>
                  </a:lnTo>
                  <a:lnTo>
                    <a:pt x="0" y="303"/>
                  </a:lnTo>
                  <a:lnTo>
                    <a:pt x="4" y="255"/>
                  </a:lnTo>
                  <a:lnTo>
                    <a:pt x="15" y="208"/>
                  </a:lnTo>
                  <a:lnTo>
                    <a:pt x="34" y="165"/>
                  </a:lnTo>
                  <a:lnTo>
                    <a:pt x="59" y="125"/>
                  </a:lnTo>
                  <a:lnTo>
                    <a:pt x="89" y="90"/>
                  </a:lnTo>
                  <a:lnTo>
                    <a:pt x="124" y="59"/>
                  </a:lnTo>
                  <a:lnTo>
                    <a:pt x="164" y="34"/>
                  </a:lnTo>
                  <a:lnTo>
                    <a:pt x="208" y="17"/>
                  </a:lnTo>
                  <a:lnTo>
                    <a:pt x="253" y="4"/>
                  </a:lnTo>
                  <a:lnTo>
                    <a:pt x="3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90" name="Freeform 16"/>
            <p:cNvSpPr>
              <a:spLocks noEditPoints="1"/>
            </p:cNvSpPr>
            <p:nvPr/>
          </p:nvSpPr>
          <p:spPr bwMode="auto">
            <a:xfrm>
              <a:off x="2597150" y="1841500"/>
              <a:ext cx="320675" cy="320675"/>
            </a:xfrm>
            <a:custGeom>
              <a:avLst/>
              <a:gdLst>
                <a:gd name="T0" fmla="*/ 269 w 606"/>
                <a:gd name="T1" fmla="*/ 156 h 606"/>
                <a:gd name="T2" fmla="*/ 208 w 606"/>
                <a:gd name="T3" fmla="*/ 186 h 606"/>
                <a:gd name="T4" fmla="*/ 167 w 606"/>
                <a:gd name="T5" fmla="*/ 237 h 606"/>
                <a:gd name="T6" fmla="*/ 151 w 606"/>
                <a:gd name="T7" fmla="*/ 303 h 606"/>
                <a:gd name="T8" fmla="*/ 167 w 606"/>
                <a:gd name="T9" fmla="*/ 371 h 606"/>
                <a:gd name="T10" fmla="*/ 208 w 606"/>
                <a:gd name="T11" fmla="*/ 422 h 606"/>
                <a:gd name="T12" fmla="*/ 269 w 606"/>
                <a:gd name="T13" fmla="*/ 452 h 606"/>
                <a:gd name="T14" fmla="*/ 337 w 606"/>
                <a:gd name="T15" fmla="*/ 452 h 606"/>
                <a:gd name="T16" fmla="*/ 398 w 606"/>
                <a:gd name="T17" fmla="*/ 422 h 606"/>
                <a:gd name="T18" fmla="*/ 439 w 606"/>
                <a:gd name="T19" fmla="*/ 371 h 606"/>
                <a:gd name="T20" fmla="*/ 455 w 606"/>
                <a:gd name="T21" fmla="*/ 303 h 606"/>
                <a:gd name="T22" fmla="*/ 439 w 606"/>
                <a:gd name="T23" fmla="*/ 237 h 606"/>
                <a:gd name="T24" fmla="*/ 398 w 606"/>
                <a:gd name="T25" fmla="*/ 186 h 606"/>
                <a:gd name="T26" fmla="*/ 337 w 606"/>
                <a:gd name="T27" fmla="*/ 156 h 606"/>
                <a:gd name="T28" fmla="*/ 303 w 606"/>
                <a:gd name="T29" fmla="*/ 0 h 606"/>
                <a:gd name="T30" fmla="*/ 398 w 606"/>
                <a:gd name="T31" fmla="*/ 17 h 606"/>
                <a:gd name="T32" fmla="*/ 482 w 606"/>
                <a:gd name="T33" fmla="*/ 59 h 606"/>
                <a:gd name="T34" fmla="*/ 547 w 606"/>
                <a:gd name="T35" fmla="*/ 126 h 606"/>
                <a:gd name="T36" fmla="*/ 591 w 606"/>
                <a:gd name="T37" fmla="*/ 208 h 606"/>
                <a:gd name="T38" fmla="*/ 606 w 606"/>
                <a:gd name="T39" fmla="*/ 303 h 606"/>
                <a:gd name="T40" fmla="*/ 591 w 606"/>
                <a:gd name="T41" fmla="*/ 400 h 606"/>
                <a:gd name="T42" fmla="*/ 547 w 606"/>
                <a:gd name="T43" fmla="*/ 482 h 606"/>
                <a:gd name="T44" fmla="*/ 482 w 606"/>
                <a:gd name="T45" fmla="*/ 548 h 606"/>
                <a:gd name="T46" fmla="*/ 398 w 606"/>
                <a:gd name="T47" fmla="*/ 591 h 606"/>
                <a:gd name="T48" fmla="*/ 303 w 606"/>
                <a:gd name="T49" fmla="*/ 606 h 606"/>
                <a:gd name="T50" fmla="*/ 208 w 606"/>
                <a:gd name="T51" fmla="*/ 591 h 606"/>
                <a:gd name="T52" fmla="*/ 124 w 606"/>
                <a:gd name="T53" fmla="*/ 548 h 606"/>
                <a:gd name="T54" fmla="*/ 59 w 606"/>
                <a:gd name="T55" fmla="*/ 482 h 606"/>
                <a:gd name="T56" fmla="*/ 15 w 606"/>
                <a:gd name="T57" fmla="*/ 400 h 606"/>
                <a:gd name="T58" fmla="*/ 0 w 606"/>
                <a:gd name="T59" fmla="*/ 303 h 606"/>
                <a:gd name="T60" fmla="*/ 15 w 606"/>
                <a:gd name="T61" fmla="*/ 208 h 606"/>
                <a:gd name="T62" fmla="*/ 59 w 606"/>
                <a:gd name="T63" fmla="*/ 126 h 606"/>
                <a:gd name="T64" fmla="*/ 124 w 606"/>
                <a:gd name="T65" fmla="*/ 59 h 606"/>
                <a:gd name="T66" fmla="*/ 208 w 606"/>
                <a:gd name="T67" fmla="*/ 17 h 606"/>
                <a:gd name="T68" fmla="*/ 303 w 606"/>
                <a:gd name="T69" fmla="*/ 0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6" h="606">
                  <a:moveTo>
                    <a:pt x="303" y="152"/>
                  </a:moveTo>
                  <a:lnTo>
                    <a:pt x="269" y="156"/>
                  </a:lnTo>
                  <a:lnTo>
                    <a:pt x="237" y="168"/>
                  </a:lnTo>
                  <a:lnTo>
                    <a:pt x="208" y="186"/>
                  </a:lnTo>
                  <a:lnTo>
                    <a:pt x="184" y="210"/>
                  </a:lnTo>
                  <a:lnTo>
                    <a:pt x="167" y="237"/>
                  </a:lnTo>
                  <a:lnTo>
                    <a:pt x="156" y="269"/>
                  </a:lnTo>
                  <a:lnTo>
                    <a:pt x="151" y="303"/>
                  </a:lnTo>
                  <a:lnTo>
                    <a:pt x="156" y="339"/>
                  </a:lnTo>
                  <a:lnTo>
                    <a:pt x="167" y="371"/>
                  </a:lnTo>
                  <a:lnTo>
                    <a:pt x="184" y="398"/>
                  </a:lnTo>
                  <a:lnTo>
                    <a:pt x="208" y="422"/>
                  </a:lnTo>
                  <a:lnTo>
                    <a:pt x="237" y="440"/>
                  </a:lnTo>
                  <a:lnTo>
                    <a:pt x="269" y="452"/>
                  </a:lnTo>
                  <a:lnTo>
                    <a:pt x="303" y="455"/>
                  </a:lnTo>
                  <a:lnTo>
                    <a:pt x="337" y="452"/>
                  </a:lnTo>
                  <a:lnTo>
                    <a:pt x="369" y="440"/>
                  </a:lnTo>
                  <a:lnTo>
                    <a:pt x="398" y="422"/>
                  </a:lnTo>
                  <a:lnTo>
                    <a:pt x="422" y="398"/>
                  </a:lnTo>
                  <a:lnTo>
                    <a:pt x="439" y="371"/>
                  </a:lnTo>
                  <a:lnTo>
                    <a:pt x="450" y="339"/>
                  </a:lnTo>
                  <a:lnTo>
                    <a:pt x="455" y="303"/>
                  </a:lnTo>
                  <a:lnTo>
                    <a:pt x="450" y="269"/>
                  </a:lnTo>
                  <a:lnTo>
                    <a:pt x="439" y="237"/>
                  </a:lnTo>
                  <a:lnTo>
                    <a:pt x="422" y="210"/>
                  </a:lnTo>
                  <a:lnTo>
                    <a:pt x="398" y="186"/>
                  </a:lnTo>
                  <a:lnTo>
                    <a:pt x="369" y="168"/>
                  </a:lnTo>
                  <a:lnTo>
                    <a:pt x="337" y="156"/>
                  </a:lnTo>
                  <a:lnTo>
                    <a:pt x="303" y="152"/>
                  </a:lnTo>
                  <a:close/>
                  <a:moveTo>
                    <a:pt x="303" y="0"/>
                  </a:moveTo>
                  <a:lnTo>
                    <a:pt x="353" y="4"/>
                  </a:lnTo>
                  <a:lnTo>
                    <a:pt x="398" y="17"/>
                  </a:lnTo>
                  <a:lnTo>
                    <a:pt x="442" y="35"/>
                  </a:lnTo>
                  <a:lnTo>
                    <a:pt x="482" y="59"/>
                  </a:lnTo>
                  <a:lnTo>
                    <a:pt x="517" y="90"/>
                  </a:lnTo>
                  <a:lnTo>
                    <a:pt x="547" y="126"/>
                  </a:lnTo>
                  <a:lnTo>
                    <a:pt x="572" y="166"/>
                  </a:lnTo>
                  <a:lnTo>
                    <a:pt x="591" y="208"/>
                  </a:lnTo>
                  <a:lnTo>
                    <a:pt x="602" y="255"/>
                  </a:lnTo>
                  <a:lnTo>
                    <a:pt x="606" y="303"/>
                  </a:lnTo>
                  <a:lnTo>
                    <a:pt x="602" y="353"/>
                  </a:lnTo>
                  <a:lnTo>
                    <a:pt x="591" y="400"/>
                  </a:lnTo>
                  <a:lnTo>
                    <a:pt x="572" y="442"/>
                  </a:lnTo>
                  <a:lnTo>
                    <a:pt x="547" y="482"/>
                  </a:lnTo>
                  <a:lnTo>
                    <a:pt x="517" y="518"/>
                  </a:lnTo>
                  <a:lnTo>
                    <a:pt x="482" y="548"/>
                  </a:lnTo>
                  <a:lnTo>
                    <a:pt x="442" y="573"/>
                  </a:lnTo>
                  <a:lnTo>
                    <a:pt x="398" y="591"/>
                  </a:lnTo>
                  <a:lnTo>
                    <a:pt x="353" y="603"/>
                  </a:lnTo>
                  <a:lnTo>
                    <a:pt x="303" y="606"/>
                  </a:lnTo>
                  <a:lnTo>
                    <a:pt x="253" y="603"/>
                  </a:lnTo>
                  <a:lnTo>
                    <a:pt x="208" y="591"/>
                  </a:lnTo>
                  <a:lnTo>
                    <a:pt x="164" y="573"/>
                  </a:lnTo>
                  <a:lnTo>
                    <a:pt x="124" y="548"/>
                  </a:lnTo>
                  <a:lnTo>
                    <a:pt x="89" y="518"/>
                  </a:lnTo>
                  <a:lnTo>
                    <a:pt x="59" y="482"/>
                  </a:lnTo>
                  <a:lnTo>
                    <a:pt x="34" y="442"/>
                  </a:lnTo>
                  <a:lnTo>
                    <a:pt x="15" y="400"/>
                  </a:lnTo>
                  <a:lnTo>
                    <a:pt x="4" y="353"/>
                  </a:lnTo>
                  <a:lnTo>
                    <a:pt x="0" y="303"/>
                  </a:lnTo>
                  <a:lnTo>
                    <a:pt x="4" y="255"/>
                  </a:lnTo>
                  <a:lnTo>
                    <a:pt x="15" y="208"/>
                  </a:lnTo>
                  <a:lnTo>
                    <a:pt x="34" y="166"/>
                  </a:lnTo>
                  <a:lnTo>
                    <a:pt x="59" y="126"/>
                  </a:lnTo>
                  <a:lnTo>
                    <a:pt x="89" y="90"/>
                  </a:lnTo>
                  <a:lnTo>
                    <a:pt x="124" y="59"/>
                  </a:lnTo>
                  <a:lnTo>
                    <a:pt x="164" y="35"/>
                  </a:lnTo>
                  <a:lnTo>
                    <a:pt x="208" y="17"/>
                  </a:lnTo>
                  <a:lnTo>
                    <a:pt x="253" y="4"/>
                  </a:lnTo>
                  <a:lnTo>
                    <a:pt x="3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91" name="Freeform 17"/>
            <p:cNvSpPr>
              <a:spLocks noEditPoints="1"/>
            </p:cNvSpPr>
            <p:nvPr/>
          </p:nvSpPr>
          <p:spPr bwMode="auto">
            <a:xfrm>
              <a:off x="2997200" y="2241550"/>
              <a:ext cx="320675" cy="320675"/>
            </a:xfrm>
            <a:custGeom>
              <a:avLst/>
              <a:gdLst>
                <a:gd name="T0" fmla="*/ 269 w 606"/>
                <a:gd name="T1" fmla="*/ 155 h 606"/>
                <a:gd name="T2" fmla="*/ 208 w 606"/>
                <a:gd name="T3" fmla="*/ 186 h 606"/>
                <a:gd name="T4" fmla="*/ 167 w 606"/>
                <a:gd name="T5" fmla="*/ 237 h 606"/>
                <a:gd name="T6" fmla="*/ 151 w 606"/>
                <a:gd name="T7" fmla="*/ 303 h 606"/>
                <a:gd name="T8" fmla="*/ 167 w 606"/>
                <a:gd name="T9" fmla="*/ 370 h 606"/>
                <a:gd name="T10" fmla="*/ 208 w 606"/>
                <a:gd name="T11" fmla="*/ 421 h 606"/>
                <a:gd name="T12" fmla="*/ 269 w 606"/>
                <a:gd name="T13" fmla="*/ 451 h 606"/>
                <a:gd name="T14" fmla="*/ 337 w 606"/>
                <a:gd name="T15" fmla="*/ 451 h 606"/>
                <a:gd name="T16" fmla="*/ 398 w 606"/>
                <a:gd name="T17" fmla="*/ 421 h 606"/>
                <a:gd name="T18" fmla="*/ 439 w 606"/>
                <a:gd name="T19" fmla="*/ 370 h 606"/>
                <a:gd name="T20" fmla="*/ 455 w 606"/>
                <a:gd name="T21" fmla="*/ 303 h 606"/>
                <a:gd name="T22" fmla="*/ 439 w 606"/>
                <a:gd name="T23" fmla="*/ 237 h 606"/>
                <a:gd name="T24" fmla="*/ 398 w 606"/>
                <a:gd name="T25" fmla="*/ 186 h 606"/>
                <a:gd name="T26" fmla="*/ 337 w 606"/>
                <a:gd name="T27" fmla="*/ 155 h 606"/>
                <a:gd name="T28" fmla="*/ 303 w 606"/>
                <a:gd name="T29" fmla="*/ 0 h 606"/>
                <a:gd name="T30" fmla="*/ 398 w 606"/>
                <a:gd name="T31" fmla="*/ 16 h 606"/>
                <a:gd name="T32" fmla="*/ 482 w 606"/>
                <a:gd name="T33" fmla="*/ 59 h 606"/>
                <a:gd name="T34" fmla="*/ 547 w 606"/>
                <a:gd name="T35" fmla="*/ 125 h 606"/>
                <a:gd name="T36" fmla="*/ 591 w 606"/>
                <a:gd name="T37" fmla="*/ 208 h 606"/>
                <a:gd name="T38" fmla="*/ 606 w 606"/>
                <a:gd name="T39" fmla="*/ 303 h 606"/>
                <a:gd name="T40" fmla="*/ 591 w 606"/>
                <a:gd name="T41" fmla="*/ 399 h 606"/>
                <a:gd name="T42" fmla="*/ 547 w 606"/>
                <a:gd name="T43" fmla="*/ 482 h 606"/>
                <a:gd name="T44" fmla="*/ 482 w 606"/>
                <a:gd name="T45" fmla="*/ 548 h 606"/>
                <a:gd name="T46" fmla="*/ 398 w 606"/>
                <a:gd name="T47" fmla="*/ 591 h 606"/>
                <a:gd name="T48" fmla="*/ 303 w 606"/>
                <a:gd name="T49" fmla="*/ 606 h 606"/>
                <a:gd name="T50" fmla="*/ 208 w 606"/>
                <a:gd name="T51" fmla="*/ 591 h 606"/>
                <a:gd name="T52" fmla="*/ 124 w 606"/>
                <a:gd name="T53" fmla="*/ 548 h 606"/>
                <a:gd name="T54" fmla="*/ 59 w 606"/>
                <a:gd name="T55" fmla="*/ 482 h 606"/>
                <a:gd name="T56" fmla="*/ 15 w 606"/>
                <a:gd name="T57" fmla="*/ 399 h 606"/>
                <a:gd name="T58" fmla="*/ 0 w 606"/>
                <a:gd name="T59" fmla="*/ 303 h 606"/>
                <a:gd name="T60" fmla="*/ 15 w 606"/>
                <a:gd name="T61" fmla="*/ 208 h 606"/>
                <a:gd name="T62" fmla="*/ 59 w 606"/>
                <a:gd name="T63" fmla="*/ 125 h 606"/>
                <a:gd name="T64" fmla="*/ 124 w 606"/>
                <a:gd name="T65" fmla="*/ 59 h 606"/>
                <a:gd name="T66" fmla="*/ 208 w 606"/>
                <a:gd name="T67" fmla="*/ 16 h 606"/>
                <a:gd name="T68" fmla="*/ 303 w 606"/>
                <a:gd name="T69" fmla="*/ 0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6" h="606">
                  <a:moveTo>
                    <a:pt x="303" y="151"/>
                  </a:moveTo>
                  <a:lnTo>
                    <a:pt x="269" y="155"/>
                  </a:lnTo>
                  <a:lnTo>
                    <a:pt x="237" y="168"/>
                  </a:lnTo>
                  <a:lnTo>
                    <a:pt x="208" y="186"/>
                  </a:lnTo>
                  <a:lnTo>
                    <a:pt x="184" y="209"/>
                  </a:lnTo>
                  <a:lnTo>
                    <a:pt x="167" y="237"/>
                  </a:lnTo>
                  <a:lnTo>
                    <a:pt x="156" y="268"/>
                  </a:lnTo>
                  <a:lnTo>
                    <a:pt x="151" y="303"/>
                  </a:lnTo>
                  <a:lnTo>
                    <a:pt x="156" y="339"/>
                  </a:lnTo>
                  <a:lnTo>
                    <a:pt x="167" y="370"/>
                  </a:lnTo>
                  <a:lnTo>
                    <a:pt x="184" y="398"/>
                  </a:lnTo>
                  <a:lnTo>
                    <a:pt x="208" y="421"/>
                  </a:lnTo>
                  <a:lnTo>
                    <a:pt x="237" y="439"/>
                  </a:lnTo>
                  <a:lnTo>
                    <a:pt x="269" y="451"/>
                  </a:lnTo>
                  <a:lnTo>
                    <a:pt x="303" y="454"/>
                  </a:lnTo>
                  <a:lnTo>
                    <a:pt x="337" y="451"/>
                  </a:lnTo>
                  <a:lnTo>
                    <a:pt x="369" y="439"/>
                  </a:lnTo>
                  <a:lnTo>
                    <a:pt x="398" y="421"/>
                  </a:lnTo>
                  <a:lnTo>
                    <a:pt x="422" y="398"/>
                  </a:lnTo>
                  <a:lnTo>
                    <a:pt x="439" y="370"/>
                  </a:lnTo>
                  <a:lnTo>
                    <a:pt x="450" y="339"/>
                  </a:lnTo>
                  <a:lnTo>
                    <a:pt x="455" y="303"/>
                  </a:lnTo>
                  <a:lnTo>
                    <a:pt x="450" y="268"/>
                  </a:lnTo>
                  <a:lnTo>
                    <a:pt x="439" y="237"/>
                  </a:lnTo>
                  <a:lnTo>
                    <a:pt x="422" y="209"/>
                  </a:lnTo>
                  <a:lnTo>
                    <a:pt x="398" y="186"/>
                  </a:lnTo>
                  <a:lnTo>
                    <a:pt x="369" y="168"/>
                  </a:lnTo>
                  <a:lnTo>
                    <a:pt x="337" y="155"/>
                  </a:lnTo>
                  <a:lnTo>
                    <a:pt x="303" y="151"/>
                  </a:lnTo>
                  <a:close/>
                  <a:moveTo>
                    <a:pt x="303" y="0"/>
                  </a:moveTo>
                  <a:lnTo>
                    <a:pt x="353" y="4"/>
                  </a:lnTo>
                  <a:lnTo>
                    <a:pt x="398" y="16"/>
                  </a:lnTo>
                  <a:lnTo>
                    <a:pt x="442" y="34"/>
                  </a:lnTo>
                  <a:lnTo>
                    <a:pt x="482" y="59"/>
                  </a:lnTo>
                  <a:lnTo>
                    <a:pt x="517" y="89"/>
                  </a:lnTo>
                  <a:lnTo>
                    <a:pt x="547" y="125"/>
                  </a:lnTo>
                  <a:lnTo>
                    <a:pt x="572" y="165"/>
                  </a:lnTo>
                  <a:lnTo>
                    <a:pt x="591" y="208"/>
                  </a:lnTo>
                  <a:lnTo>
                    <a:pt x="602" y="255"/>
                  </a:lnTo>
                  <a:lnTo>
                    <a:pt x="606" y="303"/>
                  </a:lnTo>
                  <a:lnTo>
                    <a:pt x="602" y="352"/>
                  </a:lnTo>
                  <a:lnTo>
                    <a:pt x="591" y="399"/>
                  </a:lnTo>
                  <a:lnTo>
                    <a:pt x="572" y="442"/>
                  </a:lnTo>
                  <a:lnTo>
                    <a:pt x="547" y="482"/>
                  </a:lnTo>
                  <a:lnTo>
                    <a:pt x="517" y="518"/>
                  </a:lnTo>
                  <a:lnTo>
                    <a:pt x="482" y="548"/>
                  </a:lnTo>
                  <a:lnTo>
                    <a:pt x="442" y="573"/>
                  </a:lnTo>
                  <a:lnTo>
                    <a:pt x="398" y="591"/>
                  </a:lnTo>
                  <a:lnTo>
                    <a:pt x="353" y="603"/>
                  </a:lnTo>
                  <a:lnTo>
                    <a:pt x="303" y="606"/>
                  </a:lnTo>
                  <a:lnTo>
                    <a:pt x="253" y="603"/>
                  </a:lnTo>
                  <a:lnTo>
                    <a:pt x="208" y="591"/>
                  </a:lnTo>
                  <a:lnTo>
                    <a:pt x="164" y="573"/>
                  </a:lnTo>
                  <a:lnTo>
                    <a:pt x="124" y="548"/>
                  </a:lnTo>
                  <a:lnTo>
                    <a:pt x="89" y="518"/>
                  </a:lnTo>
                  <a:lnTo>
                    <a:pt x="59" y="482"/>
                  </a:lnTo>
                  <a:lnTo>
                    <a:pt x="34" y="442"/>
                  </a:lnTo>
                  <a:lnTo>
                    <a:pt x="15" y="399"/>
                  </a:lnTo>
                  <a:lnTo>
                    <a:pt x="4" y="352"/>
                  </a:lnTo>
                  <a:lnTo>
                    <a:pt x="0" y="303"/>
                  </a:lnTo>
                  <a:lnTo>
                    <a:pt x="4" y="255"/>
                  </a:lnTo>
                  <a:lnTo>
                    <a:pt x="15" y="208"/>
                  </a:lnTo>
                  <a:lnTo>
                    <a:pt x="34" y="165"/>
                  </a:lnTo>
                  <a:lnTo>
                    <a:pt x="59" y="125"/>
                  </a:lnTo>
                  <a:lnTo>
                    <a:pt x="89" y="89"/>
                  </a:lnTo>
                  <a:lnTo>
                    <a:pt x="124" y="59"/>
                  </a:lnTo>
                  <a:lnTo>
                    <a:pt x="164" y="34"/>
                  </a:lnTo>
                  <a:lnTo>
                    <a:pt x="208" y="16"/>
                  </a:lnTo>
                  <a:lnTo>
                    <a:pt x="253" y="4"/>
                  </a:lnTo>
                  <a:lnTo>
                    <a:pt x="3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92" name="Freeform 18"/>
            <p:cNvSpPr>
              <a:spLocks noEditPoints="1"/>
            </p:cNvSpPr>
            <p:nvPr/>
          </p:nvSpPr>
          <p:spPr bwMode="auto">
            <a:xfrm>
              <a:off x="2074863" y="2322513"/>
              <a:ext cx="320675" cy="320675"/>
            </a:xfrm>
            <a:custGeom>
              <a:avLst/>
              <a:gdLst>
                <a:gd name="T0" fmla="*/ 269 w 607"/>
                <a:gd name="T1" fmla="*/ 156 h 606"/>
                <a:gd name="T2" fmla="*/ 209 w 607"/>
                <a:gd name="T3" fmla="*/ 186 h 606"/>
                <a:gd name="T4" fmla="*/ 167 w 607"/>
                <a:gd name="T5" fmla="*/ 237 h 606"/>
                <a:gd name="T6" fmla="*/ 152 w 607"/>
                <a:gd name="T7" fmla="*/ 303 h 606"/>
                <a:gd name="T8" fmla="*/ 167 w 607"/>
                <a:gd name="T9" fmla="*/ 371 h 606"/>
                <a:gd name="T10" fmla="*/ 209 w 607"/>
                <a:gd name="T11" fmla="*/ 422 h 606"/>
                <a:gd name="T12" fmla="*/ 269 w 607"/>
                <a:gd name="T13" fmla="*/ 452 h 606"/>
                <a:gd name="T14" fmla="*/ 338 w 607"/>
                <a:gd name="T15" fmla="*/ 452 h 606"/>
                <a:gd name="T16" fmla="*/ 399 w 607"/>
                <a:gd name="T17" fmla="*/ 422 h 606"/>
                <a:gd name="T18" fmla="*/ 440 w 607"/>
                <a:gd name="T19" fmla="*/ 371 h 606"/>
                <a:gd name="T20" fmla="*/ 455 w 607"/>
                <a:gd name="T21" fmla="*/ 303 h 606"/>
                <a:gd name="T22" fmla="*/ 440 w 607"/>
                <a:gd name="T23" fmla="*/ 237 h 606"/>
                <a:gd name="T24" fmla="*/ 399 w 607"/>
                <a:gd name="T25" fmla="*/ 186 h 606"/>
                <a:gd name="T26" fmla="*/ 338 w 607"/>
                <a:gd name="T27" fmla="*/ 156 h 606"/>
                <a:gd name="T28" fmla="*/ 304 w 607"/>
                <a:gd name="T29" fmla="*/ 0 h 606"/>
                <a:gd name="T30" fmla="*/ 399 w 607"/>
                <a:gd name="T31" fmla="*/ 17 h 606"/>
                <a:gd name="T32" fmla="*/ 483 w 607"/>
                <a:gd name="T33" fmla="*/ 59 h 606"/>
                <a:gd name="T34" fmla="*/ 548 w 607"/>
                <a:gd name="T35" fmla="*/ 126 h 606"/>
                <a:gd name="T36" fmla="*/ 592 w 607"/>
                <a:gd name="T37" fmla="*/ 208 h 606"/>
                <a:gd name="T38" fmla="*/ 607 w 607"/>
                <a:gd name="T39" fmla="*/ 303 h 606"/>
                <a:gd name="T40" fmla="*/ 592 w 607"/>
                <a:gd name="T41" fmla="*/ 400 h 606"/>
                <a:gd name="T42" fmla="*/ 548 w 607"/>
                <a:gd name="T43" fmla="*/ 482 h 606"/>
                <a:gd name="T44" fmla="*/ 483 w 607"/>
                <a:gd name="T45" fmla="*/ 548 h 606"/>
                <a:gd name="T46" fmla="*/ 399 w 607"/>
                <a:gd name="T47" fmla="*/ 591 h 606"/>
                <a:gd name="T48" fmla="*/ 304 w 607"/>
                <a:gd name="T49" fmla="*/ 606 h 606"/>
                <a:gd name="T50" fmla="*/ 209 w 607"/>
                <a:gd name="T51" fmla="*/ 591 h 606"/>
                <a:gd name="T52" fmla="*/ 124 w 607"/>
                <a:gd name="T53" fmla="*/ 548 h 606"/>
                <a:gd name="T54" fmla="*/ 60 w 607"/>
                <a:gd name="T55" fmla="*/ 482 h 606"/>
                <a:gd name="T56" fmla="*/ 16 w 607"/>
                <a:gd name="T57" fmla="*/ 400 h 606"/>
                <a:gd name="T58" fmla="*/ 0 w 607"/>
                <a:gd name="T59" fmla="*/ 303 h 606"/>
                <a:gd name="T60" fmla="*/ 16 w 607"/>
                <a:gd name="T61" fmla="*/ 208 h 606"/>
                <a:gd name="T62" fmla="*/ 60 w 607"/>
                <a:gd name="T63" fmla="*/ 126 h 606"/>
                <a:gd name="T64" fmla="*/ 124 w 607"/>
                <a:gd name="T65" fmla="*/ 59 h 606"/>
                <a:gd name="T66" fmla="*/ 209 w 607"/>
                <a:gd name="T67" fmla="*/ 17 h 606"/>
                <a:gd name="T68" fmla="*/ 304 w 607"/>
                <a:gd name="T69" fmla="*/ 0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7" h="606">
                  <a:moveTo>
                    <a:pt x="304" y="152"/>
                  </a:moveTo>
                  <a:lnTo>
                    <a:pt x="269" y="156"/>
                  </a:lnTo>
                  <a:lnTo>
                    <a:pt x="237" y="168"/>
                  </a:lnTo>
                  <a:lnTo>
                    <a:pt x="209" y="186"/>
                  </a:lnTo>
                  <a:lnTo>
                    <a:pt x="185" y="210"/>
                  </a:lnTo>
                  <a:lnTo>
                    <a:pt x="167" y="237"/>
                  </a:lnTo>
                  <a:lnTo>
                    <a:pt x="156" y="269"/>
                  </a:lnTo>
                  <a:lnTo>
                    <a:pt x="152" y="303"/>
                  </a:lnTo>
                  <a:lnTo>
                    <a:pt x="156" y="339"/>
                  </a:lnTo>
                  <a:lnTo>
                    <a:pt x="167" y="371"/>
                  </a:lnTo>
                  <a:lnTo>
                    <a:pt x="185" y="398"/>
                  </a:lnTo>
                  <a:lnTo>
                    <a:pt x="209" y="422"/>
                  </a:lnTo>
                  <a:lnTo>
                    <a:pt x="237" y="440"/>
                  </a:lnTo>
                  <a:lnTo>
                    <a:pt x="269" y="452"/>
                  </a:lnTo>
                  <a:lnTo>
                    <a:pt x="304" y="455"/>
                  </a:lnTo>
                  <a:lnTo>
                    <a:pt x="338" y="452"/>
                  </a:lnTo>
                  <a:lnTo>
                    <a:pt x="370" y="440"/>
                  </a:lnTo>
                  <a:lnTo>
                    <a:pt x="399" y="422"/>
                  </a:lnTo>
                  <a:lnTo>
                    <a:pt x="422" y="398"/>
                  </a:lnTo>
                  <a:lnTo>
                    <a:pt x="440" y="371"/>
                  </a:lnTo>
                  <a:lnTo>
                    <a:pt x="451" y="339"/>
                  </a:lnTo>
                  <a:lnTo>
                    <a:pt x="455" y="303"/>
                  </a:lnTo>
                  <a:lnTo>
                    <a:pt x="451" y="269"/>
                  </a:lnTo>
                  <a:lnTo>
                    <a:pt x="440" y="237"/>
                  </a:lnTo>
                  <a:lnTo>
                    <a:pt x="422" y="210"/>
                  </a:lnTo>
                  <a:lnTo>
                    <a:pt x="399" y="186"/>
                  </a:lnTo>
                  <a:lnTo>
                    <a:pt x="370" y="168"/>
                  </a:lnTo>
                  <a:lnTo>
                    <a:pt x="338" y="156"/>
                  </a:lnTo>
                  <a:lnTo>
                    <a:pt x="304" y="152"/>
                  </a:lnTo>
                  <a:close/>
                  <a:moveTo>
                    <a:pt x="304" y="0"/>
                  </a:moveTo>
                  <a:lnTo>
                    <a:pt x="353" y="4"/>
                  </a:lnTo>
                  <a:lnTo>
                    <a:pt x="399" y="17"/>
                  </a:lnTo>
                  <a:lnTo>
                    <a:pt x="443" y="35"/>
                  </a:lnTo>
                  <a:lnTo>
                    <a:pt x="483" y="59"/>
                  </a:lnTo>
                  <a:lnTo>
                    <a:pt x="517" y="90"/>
                  </a:lnTo>
                  <a:lnTo>
                    <a:pt x="548" y="126"/>
                  </a:lnTo>
                  <a:lnTo>
                    <a:pt x="572" y="166"/>
                  </a:lnTo>
                  <a:lnTo>
                    <a:pt x="592" y="208"/>
                  </a:lnTo>
                  <a:lnTo>
                    <a:pt x="603" y="255"/>
                  </a:lnTo>
                  <a:lnTo>
                    <a:pt x="607" y="303"/>
                  </a:lnTo>
                  <a:lnTo>
                    <a:pt x="603" y="353"/>
                  </a:lnTo>
                  <a:lnTo>
                    <a:pt x="592" y="400"/>
                  </a:lnTo>
                  <a:lnTo>
                    <a:pt x="572" y="442"/>
                  </a:lnTo>
                  <a:lnTo>
                    <a:pt x="548" y="482"/>
                  </a:lnTo>
                  <a:lnTo>
                    <a:pt x="517" y="518"/>
                  </a:lnTo>
                  <a:lnTo>
                    <a:pt x="483" y="548"/>
                  </a:lnTo>
                  <a:lnTo>
                    <a:pt x="443" y="573"/>
                  </a:lnTo>
                  <a:lnTo>
                    <a:pt x="399" y="591"/>
                  </a:lnTo>
                  <a:lnTo>
                    <a:pt x="353" y="603"/>
                  </a:lnTo>
                  <a:lnTo>
                    <a:pt x="304" y="606"/>
                  </a:lnTo>
                  <a:lnTo>
                    <a:pt x="254" y="603"/>
                  </a:lnTo>
                  <a:lnTo>
                    <a:pt x="209" y="591"/>
                  </a:lnTo>
                  <a:lnTo>
                    <a:pt x="164" y="573"/>
                  </a:lnTo>
                  <a:lnTo>
                    <a:pt x="124" y="548"/>
                  </a:lnTo>
                  <a:lnTo>
                    <a:pt x="90" y="518"/>
                  </a:lnTo>
                  <a:lnTo>
                    <a:pt x="60" y="482"/>
                  </a:lnTo>
                  <a:lnTo>
                    <a:pt x="35" y="442"/>
                  </a:lnTo>
                  <a:lnTo>
                    <a:pt x="16" y="400"/>
                  </a:lnTo>
                  <a:lnTo>
                    <a:pt x="5" y="353"/>
                  </a:lnTo>
                  <a:lnTo>
                    <a:pt x="0" y="303"/>
                  </a:lnTo>
                  <a:lnTo>
                    <a:pt x="5" y="255"/>
                  </a:lnTo>
                  <a:lnTo>
                    <a:pt x="16" y="208"/>
                  </a:lnTo>
                  <a:lnTo>
                    <a:pt x="35" y="166"/>
                  </a:lnTo>
                  <a:lnTo>
                    <a:pt x="60" y="126"/>
                  </a:lnTo>
                  <a:lnTo>
                    <a:pt x="90" y="90"/>
                  </a:lnTo>
                  <a:lnTo>
                    <a:pt x="124" y="59"/>
                  </a:lnTo>
                  <a:lnTo>
                    <a:pt x="164" y="35"/>
                  </a:lnTo>
                  <a:lnTo>
                    <a:pt x="209" y="17"/>
                  </a:lnTo>
                  <a:lnTo>
                    <a:pt x="254" y="4"/>
                  </a:lnTo>
                  <a:lnTo>
                    <a:pt x="30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93" name="Freeform 19"/>
            <p:cNvSpPr>
              <a:spLocks noEditPoints="1"/>
            </p:cNvSpPr>
            <p:nvPr/>
          </p:nvSpPr>
          <p:spPr bwMode="auto">
            <a:xfrm>
              <a:off x="1512888" y="2322513"/>
              <a:ext cx="322263" cy="320675"/>
            </a:xfrm>
            <a:custGeom>
              <a:avLst/>
              <a:gdLst>
                <a:gd name="T0" fmla="*/ 269 w 607"/>
                <a:gd name="T1" fmla="*/ 156 h 606"/>
                <a:gd name="T2" fmla="*/ 208 w 607"/>
                <a:gd name="T3" fmla="*/ 186 h 606"/>
                <a:gd name="T4" fmla="*/ 167 w 607"/>
                <a:gd name="T5" fmla="*/ 237 h 606"/>
                <a:gd name="T6" fmla="*/ 152 w 607"/>
                <a:gd name="T7" fmla="*/ 303 h 606"/>
                <a:gd name="T8" fmla="*/ 167 w 607"/>
                <a:gd name="T9" fmla="*/ 371 h 606"/>
                <a:gd name="T10" fmla="*/ 208 w 607"/>
                <a:gd name="T11" fmla="*/ 422 h 606"/>
                <a:gd name="T12" fmla="*/ 269 w 607"/>
                <a:gd name="T13" fmla="*/ 452 h 606"/>
                <a:gd name="T14" fmla="*/ 338 w 607"/>
                <a:gd name="T15" fmla="*/ 452 h 606"/>
                <a:gd name="T16" fmla="*/ 398 w 607"/>
                <a:gd name="T17" fmla="*/ 422 h 606"/>
                <a:gd name="T18" fmla="*/ 440 w 607"/>
                <a:gd name="T19" fmla="*/ 371 h 606"/>
                <a:gd name="T20" fmla="*/ 455 w 607"/>
                <a:gd name="T21" fmla="*/ 303 h 606"/>
                <a:gd name="T22" fmla="*/ 440 w 607"/>
                <a:gd name="T23" fmla="*/ 237 h 606"/>
                <a:gd name="T24" fmla="*/ 398 w 607"/>
                <a:gd name="T25" fmla="*/ 186 h 606"/>
                <a:gd name="T26" fmla="*/ 338 w 607"/>
                <a:gd name="T27" fmla="*/ 156 h 606"/>
                <a:gd name="T28" fmla="*/ 303 w 607"/>
                <a:gd name="T29" fmla="*/ 0 h 606"/>
                <a:gd name="T30" fmla="*/ 398 w 607"/>
                <a:gd name="T31" fmla="*/ 17 h 606"/>
                <a:gd name="T32" fmla="*/ 483 w 607"/>
                <a:gd name="T33" fmla="*/ 59 h 606"/>
                <a:gd name="T34" fmla="*/ 547 w 607"/>
                <a:gd name="T35" fmla="*/ 126 h 606"/>
                <a:gd name="T36" fmla="*/ 591 w 607"/>
                <a:gd name="T37" fmla="*/ 208 h 606"/>
                <a:gd name="T38" fmla="*/ 607 w 607"/>
                <a:gd name="T39" fmla="*/ 303 h 606"/>
                <a:gd name="T40" fmla="*/ 591 w 607"/>
                <a:gd name="T41" fmla="*/ 400 h 606"/>
                <a:gd name="T42" fmla="*/ 547 w 607"/>
                <a:gd name="T43" fmla="*/ 482 h 606"/>
                <a:gd name="T44" fmla="*/ 483 w 607"/>
                <a:gd name="T45" fmla="*/ 548 h 606"/>
                <a:gd name="T46" fmla="*/ 398 w 607"/>
                <a:gd name="T47" fmla="*/ 591 h 606"/>
                <a:gd name="T48" fmla="*/ 303 w 607"/>
                <a:gd name="T49" fmla="*/ 606 h 606"/>
                <a:gd name="T50" fmla="*/ 208 w 607"/>
                <a:gd name="T51" fmla="*/ 591 h 606"/>
                <a:gd name="T52" fmla="*/ 124 w 607"/>
                <a:gd name="T53" fmla="*/ 548 h 606"/>
                <a:gd name="T54" fmla="*/ 59 w 607"/>
                <a:gd name="T55" fmla="*/ 482 h 606"/>
                <a:gd name="T56" fmla="*/ 15 w 607"/>
                <a:gd name="T57" fmla="*/ 400 h 606"/>
                <a:gd name="T58" fmla="*/ 0 w 607"/>
                <a:gd name="T59" fmla="*/ 303 h 606"/>
                <a:gd name="T60" fmla="*/ 15 w 607"/>
                <a:gd name="T61" fmla="*/ 208 h 606"/>
                <a:gd name="T62" fmla="*/ 59 w 607"/>
                <a:gd name="T63" fmla="*/ 126 h 606"/>
                <a:gd name="T64" fmla="*/ 124 w 607"/>
                <a:gd name="T65" fmla="*/ 59 h 606"/>
                <a:gd name="T66" fmla="*/ 208 w 607"/>
                <a:gd name="T67" fmla="*/ 17 h 606"/>
                <a:gd name="T68" fmla="*/ 303 w 607"/>
                <a:gd name="T69" fmla="*/ 0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7" h="606">
                  <a:moveTo>
                    <a:pt x="303" y="152"/>
                  </a:moveTo>
                  <a:lnTo>
                    <a:pt x="269" y="156"/>
                  </a:lnTo>
                  <a:lnTo>
                    <a:pt x="237" y="168"/>
                  </a:lnTo>
                  <a:lnTo>
                    <a:pt x="208" y="186"/>
                  </a:lnTo>
                  <a:lnTo>
                    <a:pt x="185" y="210"/>
                  </a:lnTo>
                  <a:lnTo>
                    <a:pt x="167" y="237"/>
                  </a:lnTo>
                  <a:lnTo>
                    <a:pt x="156" y="269"/>
                  </a:lnTo>
                  <a:lnTo>
                    <a:pt x="152" y="303"/>
                  </a:lnTo>
                  <a:lnTo>
                    <a:pt x="156" y="339"/>
                  </a:lnTo>
                  <a:lnTo>
                    <a:pt x="167" y="371"/>
                  </a:lnTo>
                  <a:lnTo>
                    <a:pt x="185" y="398"/>
                  </a:lnTo>
                  <a:lnTo>
                    <a:pt x="208" y="422"/>
                  </a:lnTo>
                  <a:lnTo>
                    <a:pt x="237" y="440"/>
                  </a:lnTo>
                  <a:lnTo>
                    <a:pt x="269" y="452"/>
                  </a:lnTo>
                  <a:lnTo>
                    <a:pt x="303" y="455"/>
                  </a:lnTo>
                  <a:lnTo>
                    <a:pt x="338" y="452"/>
                  </a:lnTo>
                  <a:lnTo>
                    <a:pt x="370" y="440"/>
                  </a:lnTo>
                  <a:lnTo>
                    <a:pt x="398" y="422"/>
                  </a:lnTo>
                  <a:lnTo>
                    <a:pt x="422" y="398"/>
                  </a:lnTo>
                  <a:lnTo>
                    <a:pt x="440" y="371"/>
                  </a:lnTo>
                  <a:lnTo>
                    <a:pt x="451" y="339"/>
                  </a:lnTo>
                  <a:lnTo>
                    <a:pt x="455" y="303"/>
                  </a:lnTo>
                  <a:lnTo>
                    <a:pt x="451" y="269"/>
                  </a:lnTo>
                  <a:lnTo>
                    <a:pt x="440" y="237"/>
                  </a:lnTo>
                  <a:lnTo>
                    <a:pt x="422" y="210"/>
                  </a:lnTo>
                  <a:lnTo>
                    <a:pt x="398" y="186"/>
                  </a:lnTo>
                  <a:lnTo>
                    <a:pt x="370" y="168"/>
                  </a:lnTo>
                  <a:lnTo>
                    <a:pt x="338" y="156"/>
                  </a:lnTo>
                  <a:lnTo>
                    <a:pt x="303" y="152"/>
                  </a:lnTo>
                  <a:close/>
                  <a:moveTo>
                    <a:pt x="303" y="0"/>
                  </a:moveTo>
                  <a:lnTo>
                    <a:pt x="353" y="4"/>
                  </a:lnTo>
                  <a:lnTo>
                    <a:pt x="398" y="17"/>
                  </a:lnTo>
                  <a:lnTo>
                    <a:pt x="443" y="35"/>
                  </a:lnTo>
                  <a:lnTo>
                    <a:pt x="483" y="59"/>
                  </a:lnTo>
                  <a:lnTo>
                    <a:pt x="517" y="90"/>
                  </a:lnTo>
                  <a:lnTo>
                    <a:pt x="547" y="126"/>
                  </a:lnTo>
                  <a:lnTo>
                    <a:pt x="572" y="166"/>
                  </a:lnTo>
                  <a:lnTo>
                    <a:pt x="591" y="208"/>
                  </a:lnTo>
                  <a:lnTo>
                    <a:pt x="602" y="255"/>
                  </a:lnTo>
                  <a:lnTo>
                    <a:pt x="607" y="303"/>
                  </a:lnTo>
                  <a:lnTo>
                    <a:pt x="602" y="353"/>
                  </a:lnTo>
                  <a:lnTo>
                    <a:pt x="591" y="400"/>
                  </a:lnTo>
                  <a:lnTo>
                    <a:pt x="572" y="442"/>
                  </a:lnTo>
                  <a:lnTo>
                    <a:pt x="547" y="482"/>
                  </a:lnTo>
                  <a:lnTo>
                    <a:pt x="517" y="518"/>
                  </a:lnTo>
                  <a:lnTo>
                    <a:pt x="483" y="548"/>
                  </a:lnTo>
                  <a:lnTo>
                    <a:pt x="443" y="573"/>
                  </a:lnTo>
                  <a:lnTo>
                    <a:pt x="398" y="591"/>
                  </a:lnTo>
                  <a:lnTo>
                    <a:pt x="353" y="603"/>
                  </a:lnTo>
                  <a:lnTo>
                    <a:pt x="303" y="606"/>
                  </a:lnTo>
                  <a:lnTo>
                    <a:pt x="254" y="603"/>
                  </a:lnTo>
                  <a:lnTo>
                    <a:pt x="208" y="591"/>
                  </a:lnTo>
                  <a:lnTo>
                    <a:pt x="164" y="573"/>
                  </a:lnTo>
                  <a:lnTo>
                    <a:pt x="124" y="548"/>
                  </a:lnTo>
                  <a:lnTo>
                    <a:pt x="90" y="518"/>
                  </a:lnTo>
                  <a:lnTo>
                    <a:pt x="59" y="482"/>
                  </a:lnTo>
                  <a:lnTo>
                    <a:pt x="35" y="442"/>
                  </a:lnTo>
                  <a:lnTo>
                    <a:pt x="15" y="400"/>
                  </a:lnTo>
                  <a:lnTo>
                    <a:pt x="4" y="353"/>
                  </a:lnTo>
                  <a:lnTo>
                    <a:pt x="0" y="303"/>
                  </a:lnTo>
                  <a:lnTo>
                    <a:pt x="4" y="255"/>
                  </a:lnTo>
                  <a:lnTo>
                    <a:pt x="15" y="208"/>
                  </a:lnTo>
                  <a:lnTo>
                    <a:pt x="35" y="166"/>
                  </a:lnTo>
                  <a:lnTo>
                    <a:pt x="59" y="126"/>
                  </a:lnTo>
                  <a:lnTo>
                    <a:pt x="90" y="90"/>
                  </a:lnTo>
                  <a:lnTo>
                    <a:pt x="124" y="59"/>
                  </a:lnTo>
                  <a:lnTo>
                    <a:pt x="164" y="35"/>
                  </a:lnTo>
                  <a:lnTo>
                    <a:pt x="208" y="17"/>
                  </a:lnTo>
                  <a:lnTo>
                    <a:pt x="254" y="4"/>
                  </a:lnTo>
                  <a:lnTo>
                    <a:pt x="3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94" name="Freeform 20"/>
            <p:cNvSpPr>
              <a:spLocks/>
            </p:cNvSpPr>
            <p:nvPr/>
          </p:nvSpPr>
          <p:spPr bwMode="auto">
            <a:xfrm>
              <a:off x="1698625" y="2222500"/>
              <a:ext cx="195263" cy="195263"/>
            </a:xfrm>
            <a:custGeom>
              <a:avLst/>
              <a:gdLst>
                <a:gd name="T0" fmla="*/ 283 w 370"/>
                <a:gd name="T1" fmla="*/ 0 h 369"/>
                <a:gd name="T2" fmla="*/ 306 w 370"/>
                <a:gd name="T3" fmla="*/ 0 h 369"/>
                <a:gd name="T4" fmla="*/ 328 w 370"/>
                <a:gd name="T5" fmla="*/ 7 h 369"/>
                <a:gd name="T6" fmla="*/ 348 w 370"/>
                <a:gd name="T7" fmla="*/ 21 h 369"/>
                <a:gd name="T8" fmla="*/ 363 w 370"/>
                <a:gd name="T9" fmla="*/ 41 h 369"/>
                <a:gd name="T10" fmla="*/ 370 w 370"/>
                <a:gd name="T11" fmla="*/ 63 h 369"/>
                <a:gd name="T12" fmla="*/ 370 w 370"/>
                <a:gd name="T13" fmla="*/ 85 h 369"/>
                <a:gd name="T14" fmla="*/ 363 w 370"/>
                <a:gd name="T15" fmla="*/ 107 h 369"/>
                <a:gd name="T16" fmla="*/ 348 w 370"/>
                <a:gd name="T17" fmla="*/ 127 h 369"/>
                <a:gd name="T18" fmla="*/ 127 w 370"/>
                <a:gd name="T19" fmla="*/ 347 h 369"/>
                <a:gd name="T20" fmla="*/ 111 w 370"/>
                <a:gd name="T21" fmla="*/ 359 h 369"/>
                <a:gd name="T22" fmla="*/ 91 w 370"/>
                <a:gd name="T23" fmla="*/ 368 h 369"/>
                <a:gd name="T24" fmla="*/ 75 w 370"/>
                <a:gd name="T25" fmla="*/ 369 h 369"/>
                <a:gd name="T26" fmla="*/ 54 w 370"/>
                <a:gd name="T27" fmla="*/ 368 h 369"/>
                <a:gd name="T28" fmla="*/ 37 w 370"/>
                <a:gd name="T29" fmla="*/ 359 h 369"/>
                <a:gd name="T30" fmla="*/ 21 w 370"/>
                <a:gd name="T31" fmla="*/ 347 h 369"/>
                <a:gd name="T32" fmla="*/ 7 w 370"/>
                <a:gd name="T33" fmla="*/ 328 h 369"/>
                <a:gd name="T34" fmla="*/ 0 w 370"/>
                <a:gd name="T35" fmla="*/ 306 h 369"/>
                <a:gd name="T36" fmla="*/ 0 w 370"/>
                <a:gd name="T37" fmla="*/ 282 h 369"/>
                <a:gd name="T38" fmla="*/ 7 w 370"/>
                <a:gd name="T39" fmla="*/ 260 h 369"/>
                <a:gd name="T40" fmla="*/ 21 w 370"/>
                <a:gd name="T41" fmla="*/ 241 h 369"/>
                <a:gd name="T42" fmla="*/ 241 w 370"/>
                <a:gd name="T43" fmla="*/ 21 h 369"/>
                <a:gd name="T44" fmla="*/ 261 w 370"/>
                <a:gd name="T45" fmla="*/ 7 h 369"/>
                <a:gd name="T46" fmla="*/ 283 w 370"/>
                <a:gd name="T47" fmla="*/ 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0" h="369">
                  <a:moveTo>
                    <a:pt x="283" y="0"/>
                  </a:moveTo>
                  <a:lnTo>
                    <a:pt x="306" y="0"/>
                  </a:lnTo>
                  <a:lnTo>
                    <a:pt x="328" y="7"/>
                  </a:lnTo>
                  <a:lnTo>
                    <a:pt x="348" y="21"/>
                  </a:lnTo>
                  <a:lnTo>
                    <a:pt x="363" y="41"/>
                  </a:lnTo>
                  <a:lnTo>
                    <a:pt x="370" y="63"/>
                  </a:lnTo>
                  <a:lnTo>
                    <a:pt x="370" y="85"/>
                  </a:lnTo>
                  <a:lnTo>
                    <a:pt x="363" y="107"/>
                  </a:lnTo>
                  <a:lnTo>
                    <a:pt x="348" y="127"/>
                  </a:lnTo>
                  <a:lnTo>
                    <a:pt x="127" y="347"/>
                  </a:lnTo>
                  <a:lnTo>
                    <a:pt x="111" y="359"/>
                  </a:lnTo>
                  <a:lnTo>
                    <a:pt x="91" y="368"/>
                  </a:lnTo>
                  <a:lnTo>
                    <a:pt x="75" y="369"/>
                  </a:lnTo>
                  <a:lnTo>
                    <a:pt x="54" y="368"/>
                  </a:lnTo>
                  <a:lnTo>
                    <a:pt x="37" y="359"/>
                  </a:lnTo>
                  <a:lnTo>
                    <a:pt x="21" y="347"/>
                  </a:lnTo>
                  <a:lnTo>
                    <a:pt x="7" y="328"/>
                  </a:lnTo>
                  <a:lnTo>
                    <a:pt x="0" y="306"/>
                  </a:lnTo>
                  <a:lnTo>
                    <a:pt x="0" y="282"/>
                  </a:lnTo>
                  <a:lnTo>
                    <a:pt x="7" y="260"/>
                  </a:lnTo>
                  <a:lnTo>
                    <a:pt x="21" y="241"/>
                  </a:lnTo>
                  <a:lnTo>
                    <a:pt x="241" y="21"/>
                  </a:lnTo>
                  <a:lnTo>
                    <a:pt x="261" y="7"/>
                  </a:lnTo>
                  <a:lnTo>
                    <a:pt x="28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95" name="Freeform 21"/>
            <p:cNvSpPr>
              <a:spLocks/>
            </p:cNvSpPr>
            <p:nvPr/>
          </p:nvSpPr>
          <p:spPr bwMode="auto">
            <a:xfrm>
              <a:off x="2014538" y="2222500"/>
              <a:ext cx="196850" cy="195263"/>
            </a:xfrm>
            <a:custGeom>
              <a:avLst/>
              <a:gdLst>
                <a:gd name="T0" fmla="*/ 64 w 370"/>
                <a:gd name="T1" fmla="*/ 0 h 369"/>
                <a:gd name="T2" fmla="*/ 87 w 370"/>
                <a:gd name="T3" fmla="*/ 0 h 369"/>
                <a:gd name="T4" fmla="*/ 109 w 370"/>
                <a:gd name="T5" fmla="*/ 7 h 369"/>
                <a:gd name="T6" fmla="*/ 129 w 370"/>
                <a:gd name="T7" fmla="*/ 21 h 369"/>
                <a:gd name="T8" fmla="*/ 349 w 370"/>
                <a:gd name="T9" fmla="*/ 241 h 369"/>
                <a:gd name="T10" fmla="*/ 363 w 370"/>
                <a:gd name="T11" fmla="*/ 260 h 369"/>
                <a:gd name="T12" fmla="*/ 370 w 370"/>
                <a:gd name="T13" fmla="*/ 282 h 369"/>
                <a:gd name="T14" fmla="*/ 370 w 370"/>
                <a:gd name="T15" fmla="*/ 306 h 369"/>
                <a:gd name="T16" fmla="*/ 363 w 370"/>
                <a:gd name="T17" fmla="*/ 328 h 369"/>
                <a:gd name="T18" fmla="*/ 349 w 370"/>
                <a:gd name="T19" fmla="*/ 347 h 369"/>
                <a:gd name="T20" fmla="*/ 339 w 370"/>
                <a:gd name="T21" fmla="*/ 357 h 369"/>
                <a:gd name="T22" fmla="*/ 327 w 370"/>
                <a:gd name="T23" fmla="*/ 364 h 369"/>
                <a:gd name="T24" fmla="*/ 312 w 370"/>
                <a:gd name="T25" fmla="*/ 368 h 369"/>
                <a:gd name="T26" fmla="*/ 295 w 370"/>
                <a:gd name="T27" fmla="*/ 369 h 369"/>
                <a:gd name="T28" fmla="*/ 275 w 370"/>
                <a:gd name="T29" fmla="*/ 368 h 369"/>
                <a:gd name="T30" fmla="*/ 258 w 370"/>
                <a:gd name="T31" fmla="*/ 359 h 369"/>
                <a:gd name="T32" fmla="*/ 242 w 370"/>
                <a:gd name="T33" fmla="*/ 347 h 369"/>
                <a:gd name="T34" fmla="*/ 22 w 370"/>
                <a:gd name="T35" fmla="*/ 127 h 369"/>
                <a:gd name="T36" fmla="*/ 7 w 370"/>
                <a:gd name="T37" fmla="*/ 107 h 369"/>
                <a:gd name="T38" fmla="*/ 0 w 370"/>
                <a:gd name="T39" fmla="*/ 85 h 369"/>
                <a:gd name="T40" fmla="*/ 0 w 370"/>
                <a:gd name="T41" fmla="*/ 63 h 369"/>
                <a:gd name="T42" fmla="*/ 7 w 370"/>
                <a:gd name="T43" fmla="*/ 41 h 369"/>
                <a:gd name="T44" fmla="*/ 22 w 370"/>
                <a:gd name="T45" fmla="*/ 21 h 369"/>
                <a:gd name="T46" fmla="*/ 42 w 370"/>
                <a:gd name="T47" fmla="*/ 7 h 369"/>
                <a:gd name="T48" fmla="*/ 64 w 370"/>
                <a:gd name="T49" fmla="*/ 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0" h="369">
                  <a:moveTo>
                    <a:pt x="64" y="0"/>
                  </a:moveTo>
                  <a:lnTo>
                    <a:pt x="87" y="0"/>
                  </a:lnTo>
                  <a:lnTo>
                    <a:pt x="109" y="7"/>
                  </a:lnTo>
                  <a:lnTo>
                    <a:pt x="129" y="21"/>
                  </a:lnTo>
                  <a:lnTo>
                    <a:pt x="349" y="241"/>
                  </a:lnTo>
                  <a:lnTo>
                    <a:pt x="363" y="260"/>
                  </a:lnTo>
                  <a:lnTo>
                    <a:pt x="370" y="282"/>
                  </a:lnTo>
                  <a:lnTo>
                    <a:pt x="370" y="306"/>
                  </a:lnTo>
                  <a:lnTo>
                    <a:pt x="363" y="328"/>
                  </a:lnTo>
                  <a:lnTo>
                    <a:pt x="349" y="347"/>
                  </a:lnTo>
                  <a:lnTo>
                    <a:pt x="339" y="357"/>
                  </a:lnTo>
                  <a:lnTo>
                    <a:pt x="327" y="364"/>
                  </a:lnTo>
                  <a:lnTo>
                    <a:pt x="312" y="368"/>
                  </a:lnTo>
                  <a:lnTo>
                    <a:pt x="295" y="369"/>
                  </a:lnTo>
                  <a:lnTo>
                    <a:pt x="275" y="368"/>
                  </a:lnTo>
                  <a:lnTo>
                    <a:pt x="258" y="359"/>
                  </a:lnTo>
                  <a:lnTo>
                    <a:pt x="242" y="347"/>
                  </a:lnTo>
                  <a:lnTo>
                    <a:pt x="22" y="127"/>
                  </a:lnTo>
                  <a:lnTo>
                    <a:pt x="7" y="107"/>
                  </a:lnTo>
                  <a:lnTo>
                    <a:pt x="0" y="85"/>
                  </a:lnTo>
                  <a:lnTo>
                    <a:pt x="0" y="63"/>
                  </a:lnTo>
                  <a:lnTo>
                    <a:pt x="7" y="41"/>
                  </a:lnTo>
                  <a:lnTo>
                    <a:pt x="22" y="21"/>
                  </a:lnTo>
                  <a:lnTo>
                    <a:pt x="42" y="7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96" name="Freeform 22"/>
            <p:cNvSpPr>
              <a:spLocks/>
            </p:cNvSpPr>
            <p:nvPr/>
          </p:nvSpPr>
          <p:spPr bwMode="auto">
            <a:xfrm>
              <a:off x="2279650" y="2025650"/>
              <a:ext cx="412750" cy="412750"/>
            </a:xfrm>
            <a:custGeom>
              <a:avLst/>
              <a:gdLst>
                <a:gd name="T0" fmla="*/ 693 w 778"/>
                <a:gd name="T1" fmla="*/ 0 h 780"/>
                <a:gd name="T2" fmla="*/ 715 w 778"/>
                <a:gd name="T3" fmla="*/ 0 h 780"/>
                <a:gd name="T4" fmla="*/ 737 w 778"/>
                <a:gd name="T5" fmla="*/ 7 h 780"/>
                <a:gd name="T6" fmla="*/ 756 w 778"/>
                <a:gd name="T7" fmla="*/ 22 h 780"/>
                <a:gd name="T8" fmla="*/ 771 w 778"/>
                <a:gd name="T9" fmla="*/ 41 h 780"/>
                <a:gd name="T10" fmla="*/ 778 w 778"/>
                <a:gd name="T11" fmla="*/ 63 h 780"/>
                <a:gd name="T12" fmla="*/ 778 w 778"/>
                <a:gd name="T13" fmla="*/ 87 h 780"/>
                <a:gd name="T14" fmla="*/ 771 w 778"/>
                <a:gd name="T15" fmla="*/ 109 h 780"/>
                <a:gd name="T16" fmla="*/ 756 w 778"/>
                <a:gd name="T17" fmla="*/ 128 h 780"/>
                <a:gd name="T18" fmla="*/ 128 w 778"/>
                <a:gd name="T19" fmla="*/ 756 h 780"/>
                <a:gd name="T20" fmla="*/ 113 w 778"/>
                <a:gd name="T21" fmla="*/ 770 h 780"/>
                <a:gd name="T22" fmla="*/ 95 w 778"/>
                <a:gd name="T23" fmla="*/ 777 h 780"/>
                <a:gd name="T24" fmla="*/ 75 w 778"/>
                <a:gd name="T25" fmla="*/ 780 h 780"/>
                <a:gd name="T26" fmla="*/ 55 w 778"/>
                <a:gd name="T27" fmla="*/ 777 h 780"/>
                <a:gd name="T28" fmla="*/ 37 w 778"/>
                <a:gd name="T29" fmla="*/ 770 h 780"/>
                <a:gd name="T30" fmla="*/ 22 w 778"/>
                <a:gd name="T31" fmla="*/ 756 h 780"/>
                <a:gd name="T32" fmla="*/ 7 w 778"/>
                <a:gd name="T33" fmla="*/ 737 h 780"/>
                <a:gd name="T34" fmla="*/ 0 w 778"/>
                <a:gd name="T35" fmla="*/ 715 h 780"/>
                <a:gd name="T36" fmla="*/ 0 w 778"/>
                <a:gd name="T37" fmla="*/ 693 h 780"/>
                <a:gd name="T38" fmla="*/ 7 w 778"/>
                <a:gd name="T39" fmla="*/ 671 h 780"/>
                <a:gd name="T40" fmla="*/ 22 w 778"/>
                <a:gd name="T41" fmla="*/ 650 h 780"/>
                <a:gd name="T42" fmla="*/ 650 w 778"/>
                <a:gd name="T43" fmla="*/ 22 h 780"/>
                <a:gd name="T44" fmla="*/ 671 w 778"/>
                <a:gd name="T45" fmla="*/ 7 h 780"/>
                <a:gd name="T46" fmla="*/ 693 w 778"/>
                <a:gd name="T47" fmla="*/ 0 h 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78" h="780">
                  <a:moveTo>
                    <a:pt x="693" y="0"/>
                  </a:moveTo>
                  <a:lnTo>
                    <a:pt x="715" y="0"/>
                  </a:lnTo>
                  <a:lnTo>
                    <a:pt x="737" y="7"/>
                  </a:lnTo>
                  <a:lnTo>
                    <a:pt x="756" y="22"/>
                  </a:lnTo>
                  <a:lnTo>
                    <a:pt x="771" y="41"/>
                  </a:lnTo>
                  <a:lnTo>
                    <a:pt x="778" y="63"/>
                  </a:lnTo>
                  <a:lnTo>
                    <a:pt x="778" y="87"/>
                  </a:lnTo>
                  <a:lnTo>
                    <a:pt x="771" y="109"/>
                  </a:lnTo>
                  <a:lnTo>
                    <a:pt x="756" y="128"/>
                  </a:lnTo>
                  <a:lnTo>
                    <a:pt x="128" y="756"/>
                  </a:lnTo>
                  <a:lnTo>
                    <a:pt x="113" y="770"/>
                  </a:lnTo>
                  <a:lnTo>
                    <a:pt x="95" y="777"/>
                  </a:lnTo>
                  <a:lnTo>
                    <a:pt x="75" y="780"/>
                  </a:lnTo>
                  <a:lnTo>
                    <a:pt x="55" y="777"/>
                  </a:lnTo>
                  <a:lnTo>
                    <a:pt x="37" y="770"/>
                  </a:lnTo>
                  <a:lnTo>
                    <a:pt x="22" y="756"/>
                  </a:lnTo>
                  <a:lnTo>
                    <a:pt x="7" y="737"/>
                  </a:lnTo>
                  <a:lnTo>
                    <a:pt x="0" y="715"/>
                  </a:lnTo>
                  <a:lnTo>
                    <a:pt x="0" y="693"/>
                  </a:lnTo>
                  <a:lnTo>
                    <a:pt x="7" y="671"/>
                  </a:lnTo>
                  <a:lnTo>
                    <a:pt x="22" y="650"/>
                  </a:lnTo>
                  <a:lnTo>
                    <a:pt x="650" y="22"/>
                  </a:lnTo>
                  <a:lnTo>
                    <a:pt x="671" y="7"/>
                  </a:lnTo>
                  <a:lnTo>
                    <a:pt x="6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97" name="Freeform 23"/>
            <p:cNvSpPr>
              <a:spLocks/>
            </p:cNvSpPr>
            <p:nvPr/>
          </p:nvSpPr>
          <p:spPr bwMode="auto">
            <a:xfrm>
              <a:off x="2817813" y="2022475"/>
              <a:ext cx="315913" cy="315913"/>
            </a:xfrm>
            <a:custGeom>
              <a:avLst/>
              <a:gdLst>
                <a:gd name="T0" fmla="*/ 64 w 597"/>
                <a:gd name="T1" fmla="*/ 0 h 597"/>
                <a:gd name="T2" fmla="*/ 87 w 597"/>
                <a:gd name="T3" fmla="*/ 0 h 597"/>
                <a:gd name="T4" fmla="*/ 109 w 597"/>
                <a:gd name="T5" fmla="*/ 7 h 597"/>
                <a:gd name="T6" fmla="*/ 129 w 597"/>
                <a:gd name="T7" fmla="*/ 21 h 597"/>
                <a:gd name="T8" fmla="*/ 576 w 597"/>
                <a:gd name="T9" fmla="*/ 468 h 597"/>
                <a:gd name="T10" fmla="*/ 590 w 597"/>
                <a:gd name="T11" fmla="*/ 488 h 597"/>
                <a:gd name="T12" fmla="*/ 597 w 597"/>
                <a:gd name="T13" fmla="*/ 510 h 597"/>
                <a:gd name="T14" fmla="*/ 597 w 597"/>
                <a:gd name="T15" fmla="*/ 533 h 597"/>
                <a:gd name="T16" fmla="*/ 590 w 597"/>
                <a:gd name="T17" fmla="*/ 555 h 597"/>
                <a:gd name="T18" fmla="*/ 576 w 597"/>
                <a:gd name="T19" fmla="*/ 575 h 597"/>
                <a:gd name="T20" fmla="*/ 567 w 597"/>
                <a:gd name="T21" fmla="*/ 584 h 597"/>
                <a:gd name="T22" fmla="*/ 554 w 597"/>
                <a:gd name="T23" fmla="*/ 591 h 597"/>
                <a:gd name="T24" fmla="*/ 539 w 597"/>
                <a:gd name="T25" fmla="*/ 595 h 597"/>
                <a:gd name="T26" fmla="*/ 523 w 597"/>
                <a:gd name="T27" fmla="*/ 597 h 597"/>
                <a:gd name="T28" fmla="*/ 502 w 597"/>
                <a:gd name="T29" fmla="*/ 595 h 597"/>
                <a:gd name="T30" fmla="*/ 486 w 597"/>
                <a:gd name="T31" fmla="*/ 587 h 597"/>
                <a:gd name="T32" fmla="*/ 470 w 597"/>
                <a:gd name="T33" fmla="*/ 575 h 597"/>
                <a:gd name="T34" fmla="*/ 22 w 597"/>
                <a:gd name="T35" fmla="*/ 127 h 597"/>
                <a:gd name="T36" fmla="*/ 7 w 597"/>
                <a:gd name="T37" fmla="*/ 108 h 597"/>
                <a:gd name="T38" fmla="*/ 0 w 597"/>
                <a:gd name="T39" fmla="*/ 86 h 597"/>
                <a:gd name="T40" fmla="*/ 0 w 597"/>
                <a:gd name="T41" fmla="*/ 64 h 597"/>
                <a:gd name="T42" fmla="*/ 7 w 597"/>
                <a:gd name="T43" fmla="*/ 42 h 597"/>
                <a:gd name="T44" fmla="*/ 22 w 597"/>
                <a:gd name="T45" fmla="*/ 21 h 597"/>
                <a:gd name="T46" fmla="*/ 42 w 597"/>
                <a:gd name="T47" fmla="*/ 7 h 597"/>
                <a:gd name="T48" fmla="*/ 64 w 597"/>
                <a:gd name="T49" fmla="*/ 0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7" h="597">
                  <a:moveTo>
                    <a:pt x="64" y="0"/>
                  </a:moveTo>
                  <a:lnTo>
                    <a:pt x="87" y="0"/>
                  </a:lnTo>
                  <a:lnTo>
                    <a:pt x="109" y="7"/>
                  </a:lnTo>
                  <a:lnTo>
                    <a:pt x="129" y="21"/>
                  </a:lnTo>
                  <a:lnTo>
                    <a:pt x="576" y="468"/>
                  </a:lnTo>
                  <a:lnTo>
                    <a:pt x="590" y="488"/>
                  </a:lnTo>
                  <a:lnTo>
                    <a:pt x="597" y="510"/>
                  </a:lnTo>
                  <a:lnTo>
                    <a:pt x="597" y="533"/>
                  </a:lnTo>
                  <a:lnTo>
                    <a:pt x="590" y="555"/>
                  </a:lnTo>
                  <a:lnTo>
                    <a:pt x="576" y="575"/>
                  </a:lnTo>
                  <a:lnTo>
                    <a:pt x="567" y="584"/>
                  </a:lnTo>
                  <a:lnTo>
                    <a:pt x="554" y="591"/>
                  </a:lnTo>
                  <a:lnTo>
                    <a:pt x="539" y="595"/>
                  </a:lnTo>
                  <a:lnTo>
                    <a:pt x="523" y="597"/>
                  </a:lnTo>
                  <a:lnTo>
                    <a:pt x="502" y="595"/>
                  </a:lnTo>
                  <a:lnTo>
                    <a:pt x="486" y="587"/>
                  </a:lnTo>
                  <a:lnTo>
                    <a:pt x="470" y="575"/>
                  </a:lnTo>
                  <a:lnTo>
                    <a:pt x="22" y="127"/>
                  </a:lnTo>
                  <a:lnTo>
                    <a:pt x="7" y="108"/>
                  </a:lnTo>
                  <a:lnTo>
                    <a:pt x="0" y="86"/>
                  </a:lnTo>
                  <a:lnTo>
                    <a:pt x="0" y="64"/>
                  </a:lnTo>
                  <a:lnTo>
                    <a:pt x="7" y="42"/>
                  </a:lnTo>
                  <a:lnTo>
                    <a:pt x="22" y="21"/>
                  </a:lnTo>
                  <a:lnTo>
                    <a:pt x="42" y="7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98" name="Freeform 28"/>
          <p:cNvSpPr>
            <a:spLocks noEditPoints="1"/>
          </p:cNvSpPr>
          <p:nvPr/>
        </p:nvSpPr>
        <p:spPr bwMode="auto">
          <a:xfrm>
            <a:off x="6414157" y="3633341"/>
            <a:ext cx="224534" cy="223479"/>
          </a:xfrm>
          <a:custGeom>
            <a:avLst/>
            <a:gdLst>
              <a:gd name="T0" fmla="*/ 245 w 3828"/>
              <a:gd name="T1" fmla="*/ 3467 h 3810"/>
              <a:gd name="T2" fmla="*/ 313 w 3828"/>
              <a:gd name="T3" fmla="*/ 3449 h 3810"/>
              <a:gd name="T4" fmla="*/ 362 w 3828"/>
              <a:gd name="T5" fmla="*/ 3498 h 3810"/>
              <a:gd name="T6" fmla="*/ 344 w 3828"/>
              <a:gd name="T7" fmla="*/ 3566 h 3810"/>
              <a:gd name="T8" fmla="*/ 713 w 3828"/>
              <a:gd name="T9" fmla="*/ 3175 h 3810"/>
              <a:gd name="T10" fmla="*/ 701 w 3828"/>
              <a:gd name="T11" fmla="*/ 3176 h 3810"/>
              <a:gd name="T12" fmla="*/ 691 w 3828"/>
              <a:gd name="T13" fmla="*/ 3173 h 3810"/>
              <a:gd name="T14" fmla="*/ 666 w 3828"/>
              <a:gd name="T15" fmla="*/ 3163 h 3810"/>
              <a:gd name="T16" fmla="*/ 650 w 3828"/>
              <a:gd name="T17" fmla="*/ 3145 h 3810"/>
              <a:gd name="T18" fmla="*/ 639 w 3828"/>
              <a:gd name="T19" fmla="*/ 3121 h 3810"/>
              <a:gd name="T20" fmla="*/ 637 w 3828"/>
              <a:gd name="T21" fmla="*/ 3110 h 3810"/>
              <a:gd name="T22" fmla="*/ 637 w 3828"/>
              <a:gd name="T23" fmla="*/ 3100 h 3810"/>
              <a:gd name="T24" fmla="*/ 723 w 3828"/>
              <a:gd name="T25" fmla="*/ 2602 h 3810"/>
              <a:gd name="T26" fmla="*/ 2323 w 3828"/>
              <a:gd name="T27" fmla="*/ 1039 h 3810"/>
              <a:gd name="T28" fmla="*/ 2383 w 3828"/>
              <a:gd name="T29" fmla="*/ 1074 h 3810"/>
              <a:gd name="T30" fmla="*/ 2383 w 3828"/>
              <a:gd name="T31" fmla="*/ 1143 h 3810"/>
              <a:gd name="T32" fmla="*/ 1115 w 3828"/>
              <a:gd name="T33" fmla="*/ 2993 h 3810"/>
              <a:gd name="T34" fmla="*/ 2715 w 3828"/>
              <a:gd name="T35" fmla="*/ 1430 h 3810"/>
              <a:gd name="T36" fmla="*/ 2774 w 3828"/>
              <a:gd name="T37" fmla="*/ 1465 h 3810"/>
              <a:gd name="T38" fmla="*/ 2774 w 3828"/>
              <a:gd name="T39" fmla="*/ 1532 h 3810"/>
              <a:gd name="T40" fmla="*/ 3106 w 3828"/>
              <a:gd name="T41" fmla="*/ 1401 h 3810"/>
              <a:gd name="T42" fmla="*/ 3205 w 3828"/>
              <a:gd name="T43" fmla="*/ 1304 h 3810"/>
              <a:gd name="T44" fmla="*/ 2714 w 3828"/>
              <a:gd name="T45" fmla="*/ 426 h 3810"/>
              <a:gd name="T46" fmla="*/ 3211 w 3828"/>
              <a:gd name="T47" fmla="*/ 138 h 3810"/>
              <a:gd name="T48" fmla="*/ 3007 w 3828"/>
              <a:gd name="T49" fmla="*/ 180 h 3810"/>
              <a:gd name="T50" fmla="*/ 3623 w 3828"/>
              <a:gd name="T51" fmla="*/ 865 h 3810"/>
              <a:gd name="T52" fmla="*/ 3687 w 3828"/>
              <a:gd name="T53" fmla="*/ 666 h 3810"/>
              <a:gd name="T54" fmla="*/ 3662 w 3828"/>
              <a:gd name="T55" fmla="*/ 460 h 3810"/>
              <a:gd name="T56" fmla="*/ 3548 w 3828"/>
              <a:gd name="T57" fmla="*/ 279 h 3810"/>
              <a:gd name="T58" fmla="*/ 3366 w 3828"/>
              <a:gd name="T59" fmla="*/ 166 h 3810"/>
              <a:gd name="T60" fmla="*/ 3204 w 3828"/>
              <a:gd name="T61" fmla="*/ 0 h 3810"/>
              <a:gd name="T62" fmla="*/ 3439 w 3828"/>
              <a:gd name="T63" fmla="*/ 46 h 3810"/>
              <a:gd name="T64" fmla="*/ 3646 w 3828"/>
              <a:gd name="T65" fmla="*/ 182 h 3810"/>
              <a:gd name="T66" fmla="*/ 3782 w 3828"/>
              <a:gd name="T67" fmla="*/ 387 h 3810"/>
              <a:gd name="T68" fmla="*/ 3828 w 3828"/>
              <a:gd name="T69" fmla="*/ 621 h 3810"/>
              <a:gd name="T70" fmla="*/ 3782 w 3828"/>
              <a:gd name="T71" fmla="*/ 854 h 3810"/>
              <a:gd name="T72" fmla="*/ 3646 w 3828"/>
              <a:gd name="T73" fmla="*/ 1060 h 3810"/>
              <a:gd name="T74" fmla="*/ 1142 w 3828"/>
              <a:gd name="T75" fmla="*/ 3549 h 3810"/>
              <a:gd name="T76" fmla="*/ 1123 w 3828"/>
              <a:gd name="T77" fmla="*/ 3561 h 3810"/>
              <a:gd name="T78" fmla="*/ 85 w 3828"/>
              <a:gd name="T79" fmla="*/ 3808 h 3810"/>
              <a:gd name="T80" fmla="*/ 42 w 3828"/>
              <a:gd name="T81" fmla="*/ 3805 h 3810"/>
              <a:gd name="T82" fmla="*/ 6 w 3828"/>
              <a:gd name="T83" fmla="*/ 3770 h 3810"/>
              <a:gd name="T84" fmla="*/ 0 w 3828"/>
              <a:gd name="T85" fmla="*/ 3740 h 3810"/>
              <a:gd name="T86" fmla="*/ 246 w 3828"/>
              <a:gd name="T87" fmla="*/ 2701 h 3810"/>
              <a:gd name="T88" fmla="*/ 254 w 3828"/>
              <a:gd name="T89" fmla="*/ 2685 h 3810"/>
              <a:gd name="T90" fmla="*/ 266 w 3828"/>
              <a:gd name="T91" fmla="*/ 2668 h 3810"/>
              <a:gd name="T92" fmla="*/ 2914 w 3828"/>
              <a:gd name="T93" fmla="*/ 71 h 3810"/>
              <a:gd name="T94" fmla="*/ 3145 w 3828"/>
              <a:gd name="T95" fmla="*/ 4 h 38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828" h="3810">
                <a:moveTo>
                  <a:pt x="676" y="2746"/>
                </a:moveTo>
                <a:lnTo>
                  <a:pt x="369" y="2780"/>
                </a:lnTo>
                <a:lnTo>
                  <a:pt x="193" y="3520"/>
                </a:lnTo>
                <a:lnTo>
                  <a:pt x="245" y="3467"/>
                </a:lnTo>
                <a:lnTo>
                  <a:pt x="261" y="3456"/>
                </a:lnTo>
                <a:lnTo>
                  <a:pt x="276" y="3449"/>
                </a:lnTo>
                <a:lnTo>
                  <a:pt x="295" y="3448"/>
                </a:lnTo>
                <a:lnTo>
                  <a:pt x="313" y="3449"/>
                </a:lnTo>
                <a:lnTo>
                  <a:pt x="328" y="3456"/>
                </a:lnTo>
                <a:lnTo>
                  <a:pt x="344" y="3467"/>
                </a:lnTo>
                <a:lnTo>
                  <a:pt x="355" y="3483"/>
                </a:lnTo>
                <a:lnTo>
                  <a:pt x="362" y="3498"/>
                </a:lnTo>
                <a:lnTo>
                  <a:pt x="363" y="3516"/>
                </a:lnTo>
                <a:lnTo>
                  <a:pt x="362" y="3534"/>
                </a:lnTo>
                <a:lnTo>
                  <a:pt x="355" y="3550"/>
                </a:lnTo>
                <a:lnTo>
                  <a:pt x="344" y="3566"/>
                </a:lnTo>
                <a:lnTo>
                  <a:pt x="291" y="3617"/>
                </a:lnTo>
                <a:lnTo>
                  <a:pt x="1035" y="3442"/>
                </a:lnTo>
                <a:lnTo>
                  <a:pt x="1068" y="3137"/>
                </a:lnTo>
                <a:lnTo>
                  <a:pt x="713" y="3175"/>
                </a:lnTo>
                <a:lnTo>
                  <a:pt x="710" y="3176"/>
                </a:lnTo>
                <a:lnTo>
                  <a:pt x="706" y="3176"/>
                </a:lnTo>
                <a:lnTo>
                  <a:pt x="706" y="3176"/>
                </a:lnTo>
                <a:lnTo>
                  <a:pt x="701" y="3176"/>
                </a:lnTo>
                <a:lnTo>
                  <a:pt x="698" y="3175"/>
                </a:lnTo>
                <a:lnTo>
                  <a:pt x="695" y="3175"/>
                </a:lnTo>
                <a:lnTo>
                  <a:pt x="693" y="3174"/>
                </a:lnTo>
                <a:lnTo>
                  <a:pt x="691" y="3173"/>
                </a:lnTo>
                <a:lnTo>
                  <a:pt x="683" y="3172"/>
                </a:lnTo>
                <a:lnTo>
                  <a:pt x="676" y="3169"/>
                </a:lnTo>
                <a:lnTo>
                  <a:pt x="671" y="3166"/>
                </a:lnTo>
                <a:lnTo>
                  <a:pt x="666" y="3163"/>
                </a:lnTo>
                <a:lnTo>
                  <a:pt x="662" y="3158"/>
                </a:lnTo>
                <a:lnTo>
                  <a:pt x="656" y="3154"/>
                </a:lnTo>
                <a:lnTo>
                  <a:pt x="652" y="3150"/>
                </a:lnTo>
                <a:lnTo>
                  <a:pt x="650" y="3145"/>
                </a:lnTo>
                <a:lnTo>
                  <a:pt x="646" y="3139"/>
                </a:lnTo>
                <a:lnTo>
                  <a:pt x="642" y="3132"/>
                </a:lnTo>
                <a:lnTo>
                  <a:pt x="641" y="3127"/>
                </a:lnTo>
                <a:lnTo>
                  <a:pt x="639" y="3121"/>
                </a:lnTo>
                <a:lnTo>
                  <a:pt x="639" y="3119"/>
                </a:lnTo>
                <a:lnTo>
                  <a:pt x="637" y="3116"/>
                </a:lnTo>
                <a:lnTo>
                  <a:pt x="637" y="3114"/>
                </a:lnTo>
                <a:lnTo>
                  <a:pt x="637" y="3110"/>
                </a:lnTo>
                <a:lnTo>
                  <a:pt x="637" y="3107"/>
                </a:lnTo>
                <a:lnTo>
                  <a:pt x="637" y="3104"/>
                </a:lnTo>
                <a:lnTo>
                  <a:pt x="637" y="3102"/>
                </a:lnTo>
                <a:lnTo>
                  <a:pt x="637" y="3100"/>
                </a:lnTo>
                <a:lnTo>
                  <a:pt x="676" y="2746"/>
                </a:lnTo>
                <a:close/>
                <a:moveTo>
                  <a:pt x="2421" y="719"/>
                </a:moveTo>
                <a:lnTo>
                  <a:pt x="502" y="2626"/>
                </a:lnTo>
                <a:lnTo>
                  <a:pt x="723" y="2602"/>
                </a:lnTo>
                <a:lnTo>
                  <a:pt x="2274" y="1060"/>
                </a:lnTo>
                <a:lnTo>
                  <a:pt x="2289" y="1049"/>
                </a:lnTo>
                <a:lnTo>
                  <a:pt x="2306" y="1042"/>
                </a:lnTo>
                <a:lnTo>
                  <a:pt x="2323" y="1039"/>
                </a:lnTo>
                <a:lnTo>
                  <a:pt x="2341" y="1042"/>
                </a:lnTo>
                <a:lnTo>
                  <a:pt x="2357" y="1049"/>
                </a:lnTo>
                <a:lnTo>
                  <a:pt x="2372" y="1060"/>
                </a:lnTo>
                <a:lnTo>
                  <a:pt x="2383" y="1074"/>
                </a:lnTo>
                <a:lnTo>
                  <a:pt x="2390" y="1091"/>
                </a:lnTo>
                <a:lnTo>
                  <a:pt x="2392" y="1108"/>
                </a:lnTo>
                <a:lnTo>
                  <a:pt x="2390" y="1126"/>
                </a:lnTo>
                <a:lnTo>
                  <a:pt x="2383" y="1143"/>
                </a:lnTo>
                <a:lnTo>
                  <a:pt x="2372" y="1157"/>
                </a:lnTo>
                <a:lnTo>
                  <a:pt x="821" y="2700"/>
                </a:lnTo>
                <a:lnTo>
                  <a:pt x="785" y="3029"/>
                </a:lnTo>
                <a:lnTo>
                  <a:pt x="1115" y="2993"/>
                </a:lnTo>
                <a:lnTo>
                  <a:pt x="2666" y="1449"/>
                </a:lnTo>
                <a:lnTo>
                  <a:pt x="2680" y="1438"/>
                </a:lnTo>
                <a:lnTo>
                  <a:pt x="2697" y="1432"/>
                </a:lnTo>
                <a:lnTo>
                  <a:pt x="2715" y="1430"/>
                </a:lnTo>
                <a:lnTo>
                  <a:pt x="2732" y="1432"/>
                </a:lnTo>
                <a:lnTo>
                  <a:pt x="2749" y="1438"/>
                </a:lnTo>
                <a:lnTo>
                  <a:pt x="2763" y="1449"/>
                </a:lnTo>
                <a:lnTo>
                  <a:pt x="2774" y="1465"/>
                </a:lnTo>
                <a:lnTo>
                  <a:pt x="2782" y="1481"/>
                </a:lnTo>
                <a:lnTo>
                  <a:pt x="2784" y="1498"/>
                </a:lnTo>
                <a:lnTo>
                  <a:pt x="2782" y="1516"/>
                </a:lnTo>
                <a:lnTo>
                  <a:pt x="2774" y="1532"/>
                </a:lnTo>
                <a:lnTo>
                  <a:pt x="2763" y="1548"/>
                </a:lnTo>
                <a:lnTo>
                  <a:pt x="1213" y="3090"/>
                </a:lnTo>
                <a:lnTo>
                  <a:pt x="1189" y="3310"/>
                </a:lnTo>
                <a:lnTo>
                  <a:pt x="3106" y="1401"/>
                </a:lnTo>
                <a:lnTo>
                  <a:pt x="2421" y="719"/>
                </a:lnTo>
                <a:close/>
                <a:moveTo>
                  <a:pt x="2616" y="524"/>
                </a:moveTo>
                <a:lnTo>
                  <a:pt x="2518" y="621"/>
                </a:lnTo>
                <a:lnTo>
                  <a:pt x="3205" y="1304"/>
                </a:lnTo>
                <a:lnTo>
                  <a:pt x="3302" y="1206"/>
                </a:lnTo>
                <a:lnTo>
                  <a:pt x="2616" y="524"/>
                </a:lnTo>
                <a:close/>
                <a:moveTo>
                  <a:pt x="2813" y="328"/>
                </a:moveTo>
                <a:lnTo>
                  <a:pt x="2714" y="426"/>
                </a:lnTo>
                <a:lnTo>
                  <a:pt x="3401" y="1109"/>
                </a:lnTo>
                <a:lnTo>
                  <a:pt x="3499" y="1011"/>
                </a:lnTo>
                <a:lnTo>
                  <a:pt x="2813" y="328"/>
                </a:lnTo>
                <a:close/>
                <a:moveTo>
                  <a:pt x="3211" y="138"/>
                </a:moveTo>
                <a:lnTo>
                  <a:pt x="3159" y="141"/>
                </a:lnTo>
                <a:lnTo>
                  <a:pt x="3107" y="148"/>
                </a:lnTo>
                <a:lnTo>
                  <a:pt x="3057" y="161"/>
                </a:lnTo>
                <a:lnTo>
                  <a:pt x="3007" y="180"/>
                </a:lnTo>
                <a:lnTo>
                  <a:pt x="2960" y="204"/>
                </a:lnTo>
                <a:lnTo>
                  <a:pt x="2914" y="235"/>
                </a:lnTo>
                <a:lnTo>
                  <a:pt x="3593" y="910"/>
                </a:lnTo>
                <a:lnTo>
                  <a:pt x="3623" y="865"/>
                </a:lnTo>
                <a:lnTo>
                  <a:pt x="3647" y="817"/>
                </a:lnTo>
                <a:lnTo>
                  <a:pt x="3666" y="768"/>
                </a:lnTo>
                <a:lnTo>
                  <a:pt x="3680" y="717"/>
                </a:lnTo>
                <a:lnTo>
                  <a:pt x="3687" y="666"/>
                </a:lnTo>
                <a:lnTo>
                  <a:pt x="3689" y="614"/>
                </a:lnTo>
                <a:lnTo>
                  <a:pt x="3686" y="562"/>
                </a:lnTo>
                <a:lnTo>
                  <a:pt x="3676" y="511"/>
                </a:lnTo>
                <a:lnTo>
                  <a:pt x="3662" y="460"/>
                </a:lnTo>
                <a:lnTo>
                  <a:pt x="3642" y="412"/>
                </a:lnTo>
                <a:lnTo>
                  <a:pt x="3616" y="365"/>
                </a:lnTo>
                <a:lnTo>
                  <a:pt x="3584" y="321"/>
                </a:lnTo>
                <a:lnTo>
                  <a:pt x="3548" y="279"/>
                </a:lnTo>
                <a:lnTo>
                  <a:pt x="3506" y="243"/>
                </a:lnTo>
                <a:lnTo>
                  <a:pt x="3461" y="212"/>
                </a:lnTo>
                <a:lnTo>
                  <a:pt x="3415" y="185"/>
                </a:lnTo>
                <a:lnTo>
                  <a:pt x="3366" y="166"/>
                </a:lnTo>
                <a:lnTo>
                  <a:pt x="3315" y="152"/>
                </a:lnTo>
                <a:lnTo>
                  <a:pt x="3263" y="142"/>
                </a:lnTo>
                <a:lnTo>
                  <a:pt x="3211" y="138"/>
                </a:lnTo>
                <a:close/>
                <a:moveTo>
                  <a:pt x="3204" y="0"/>
                </a:moveTo>
                <a:lnTo>
                  <a:pt x="3264" y="4"/>
                </a:lnTo>
                <a:lnTo>
                  <a:pt x="3324" y="12"/>
                </a:lnTo>
                <a:lnTo>
                  <a:pt x="3383" y="27"/>
                </a:lnTo>
                <a:lnTo>
                  <a:pt x="3439" y="46"/>
                </a:lnTo>
                <a:lnTo>
                  <a:pt x="3495" y="71"/>
                </a:lnTo>
                <a:lnTo>
                  <a:pt x="3548" y="102"/>
                </a:lnTo>
                <a:lnTo>
                  <a:pt x="3598" y="140"/>
                </a:lnTo>
                <a:lnTo>
                  <a:pt x="3646" y="182"/>
                </a:lnTo>
                <a:lnTo>
                  <a:pt x="3688" y="230"/>
                </a:lnTo>
                <a:lnTo>
                  <a:pt x="3726" y="279"/>
                </a:lnTo>
                <a:lnTo>
                  <a:pt x="3757" y="332"/>
                </a:lnTo>
                <a:lnTo>
                  <a:pt x="3782" y="387"/>
                </a:lnTo>
                <a:lnTo>
                  <a:pt x="3802" y="444"/>
                </a:lnTo>
                <a:lnTo>
                  <a:pt x="3816" y="502"/>
                </a:lnTo>
                <a:lnTo>
                  <a:pt x="3825" y="561"/>
                </a:lnTo>
                <a:lnTo>
                  <a:pt x="3828" y="621"/>
                </a:lnTo>
                <a:lnTo>
                  <a:pt x="3825" y="680"/>
                </a:lnTo>
                <a:lnTo>
                  <a:pt x="3816" y="739"/>
                </a:lnTo>
                <a:lnTo>
                  <a:pt x="3802" y="798"/>
                </a:lnTo>
                <a:lnTo>
                  <a:pt x="3782" y="854"/>
                </a:lnTo>
                <a:lnTo>
                  <a:pt x="3757" y="910"/>
                </a:lnTo>
                <a:lnTo>
                  <a:pt x="3726" y="962"/>
                </a:lnTo>
                <a:lnTo>
                  <a:pt x="3688" y="1013"/>
                </a:lnTo>
                <a:lnTo>
                  <a:pt x="3646" y="1060"/>
                </a:lnTo>
                <a:lnTo>
                  <a:pt x="1147" y="3545"/>
                </a:lnTo>
                <a:lnTo>
                  <a:pt x="1146" y="3546"/>
                </a:lnTo>
                <a:lnTo>
                  <a:pt x="1144" y="3548"/>
                </a:lnTo>
                <a:lnTo>
                  <a:pt x="1142" y="3549"/>
                </a:lnTo>
                <a:lnTo>
                  <a:pt x="1140" y="3551"/>
                </a:lnTo>
                <a:lnTo>
                  <a:pt x="1134" y="3556"/>
                </a:lnTo>
                <a:lnTo>
                  <a:pt x="1126" y="3560"/>
                </a:lnTo>
                <a:lnTo>
                  <a:pt x="1123" y="3561"/>
                </a:lnTo>
                <a:lnTo>
                  <a:pt x="1119" y="3562"/>
                </a:lnTo>
                <a:lnTo>
                  <a:pt x="1117" y="3563"/>
                </a:lnTo>
                <a:lnTo>
                  <a:pt x="1114" y="3564"/>
                </a:lnTo>
                <a:lnTo>
                  <a:pt x="85" y="3808"/>
                </a:lnTo>
                <a:lnTo>
                  <a:pt x="77" y="3810"/>
                </a:lnTo>
                <a:lnTo>
                  <a:pt x="69" y="3810"/>
                </a:lnTo>
                <a:lnTo>
                  <a:pt x="56" y="3808"/>
                </a:lnTo>
                <a:lnTo>
                  <a:pt x="42" y="3805"/>
                </a:lnTo>
                <a:lnTo>
                  <a:pt x="30" y="3799"/>
                </a:lnTo>
                <a:lnTo>
                  <a:pt x="21" y="3789"/>
                </a:lnTo>
                <a:lnTo>
                  <a:pt x="12" y="3779"/>
                </a:lnTo>
                <a:lnTo>
                  <a:pt x="6" y="3770"/>
                </a:lnTo>
                <a:lnTo>
                  <a:pt x="5" y="3764"/>
                </a:lnTo>
                <a:lnTo>
                  <a:pt x="1" y="3753"/>
                </a:lnTo>
                <a:lnTo>
                  <a:pt x="0" y="3741"/>
                </a:lnTo>
                <a:lnTo>
                  <a:pt x="0" y="3740"/>
                </a:lnTo>
                <a:lnTo>
                  <a:pt x="0" y="3739"/>
                </a:lnTo>
                <a:lnTo>
                  <a:pt x="0" y="3731"/>
                </a:lnTo>
                <a:lnTo>
                  <a:pt x="1" y="3725"/>
                </a:lnTo>
                <a:lnTo>
                  <a:pt x="246" y="2701"/>
                </a:lnTo>
                <a:lnTo>
                  <a:pt x="247" y="2700"/>
                </a:lnTo>
                <a:lnTo>
                  <a:pt x="249" y="2696"/>
                </a:lnTo>
                <a:lnTo>
                  <a:pt x="250" y="2694"/>
                </a:lnTo>
                <a:lnTo>
                  <a:pt x="254" y="2685"/>
                </a:lnTo>
                <a:lnTo>
                  <a:pt x="258" y="2677"/>
                </a:lnTo>
                <a:lnTo>
                  <a:pt x="262" y="2672"/>
                </a:lnTo>
                <a:lnTo>
                  <a:pt x="263" y="2671"/>
                </a:lnTo>
                <a:lnTo>
                  <a:pt x="266" y="2668"/>
                </a:lnTo>
                <a:lnTo>
                  <a:pt x="2763" y="182"/>
                </a:lnTo>
                <a:lnTo>
                  <a:pt x="2810" y="140"/>
                </a:lnTo>
                <a:lnTo>
                  <a:pt x="2861" y="102"/>
                </a:lnTo>
                <a:lnTo>
                  <a:pt x="2914" y="71"/>
                </a:lnTo>
                <a:lnTo>
                  <a:pt x="2970" y="46"/>
                </a:lnTo>
                <a:lnTo>
                  <a:pt x="3027" y="27"/>
                </a:lnTo>
                <a:lnTo>
                  <a:pt x="3086" y="12"/>
                </a:lnTo>
                <a:lnTo>
                  <a:pt x="3145" y="4"/>
                </a:lnTo>
                <a:lnTo>
                  <a:pt x="3204" y="0"/>
                </a:lnTo>
                <a:close/>
              </a:path>
            </a:pathLst>
          </a:custGeom>
          <a:solidFill>
            <a:sysClr val="window" lastClr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98" tIns="34299" rIns="68598" bIns="34299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98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grpSp>
        <p:nvGrpSpPr>
          <p:cNvPr id="199" name="Group 60"/>
          <p:cNvGrpSpPr/>
          <p:nvPr/>
        </p:nvGrpSpPr>
        <p:grpSpPr>
          <a:xfrm>
            <a:off x="7716926" y="3434429"/>
            <a:ext cx="229286" cy="249171"/>
            <a:chOff x="8685213" y="822325"/>
            <a:chExt cx="2068512" cy="2247900"/>
          </a:xfrm>
          <a:solidFill>
            <a:sysClr val="window" lastClr="FFFFFF"/>
          </a:solidFill>
        </p:grpSpPr>
        <p:sp>
          <p:nvSpPr>
            <p:cNvPr id="200" name="Freeform 33"/>
            <p:cNvSpPr>
              <a:spLocks noEditPoints="1"/>
            </p:cNvSpPr>
            <p:nvPr/>
          </p:nvSpPr>
          <p:spPr bwMode="auto">
            <a:xfrm>
              <a:off x="9015413" y="1155700"/>
              <a:ext cx="1406525" cy="1914525"/>
            </a:xfrm>
            <a:custGeom>
              <a:avLst/>
              <a:gdLst>
                <a:gd name="T0" fmla="*/ 1120 w 2658"/>
                <a:gd name="T1" fmla="*/ 3229 h 3619"/>
                <a:gd name="T2" fmla="*/ 1173 w 2658"/>
                <a:gd name="T3" fmla="*/ 3304 h 3619"/>
                <a:gd name="T4" fmla="*/ 1489 w 2658"/>
                <a:gd name="T5" fmla="*/ 3279 h 3619"/>
                <a:gd name="T6" fmla="*/ 1563 w 2658"/>
                <a:gd name="T7" fmla="*/ 3225 h 3619"/>
                <a:gd name="T8" fmla="*/ 1328 w 2658"/>
                <a:gd name="T9" fmla="*/ 157 h 3619"/>
                <a:gd name="T10" fmla="*/ 958 w 2658"/>
                <a:gd name="T11" fmla="*/ 217 h 3619"/>
                <a:gd name="T12" fmla="*/ 637 w 2658"/>
                <a:gd name="T13" fmla="*/ 385 h 3619"/>
                <a:gd name="T14" fmla="*/ 383 w 2658"/>
                <a:gd name="T15" fmla="*/ 641 h 3619"/>
                <a:gd name="T16" fmla="*/ 216 w 2658"/>
                <a:gd name="T17" fmla="*/ 964 h 3619"/>
                <a:gd name="T18" fmla="*/ 156 w 2658"/>
                <a:gd name="T19" fmla="*/ 1337 h 3619"/>
                <a:gd name="T20" fmla="*/ 215 w 2658"/>
                <a:gd name="T21" fmla="*/ 1706 h 3619"/>
                <a:gd name="T22" fmla="*/ 379 w 2658"/>
                <a:gd name="T23" fmla="*/ 2029 h 3619"/>
                <a:gd name="T24" fmla="*/ 633 w 2658"/>
                <a:gd name="T25" fmla="*/ 2288 h 3619"/>
                <a:gd name="T26" fmla="*/ 962 w 2658"/>
                <a:gd name="T27" fmla="*/ 2458 h 3619"/>
                <a:gd name="T28" fmla="*/ 1014 w 2658"/>
                <a:gd name="T29" fmla="*/ 2513 h 3619"/>
                <a:gd name="T30" fmla="*/ 1642 w 2658"/>
                <a:gd name="T31" fmla="*/ 2532 h 3619"/>
                <a:gd name="T32" fmla="*/ 1678 w 2658"/>
                <a:gd name="T33" fmla="*/ 2466 h 3619"/>
                <a:gd name="T34" fmla="*/ 1949 w 2658"/>
                <a:gd name="T35" fmla="*/ 2339 h 3619"/>
                <a:gd name="T36" fmla="*/ 2223 w 2658"/>
                <a:gd name="T37" fmla="*/ 2101 h 3619"/>
                <a:gd name="T38" fmla="*/ 2412 w 2658"/>
                <a:gd name="T39" fmla="*/ 1791 h 3619"/>
                <a:gd name="T40" fmla="*/ 2498 w 2658"/>
                <a:gd name="T41" fmla="*/ 1432 h 3619"/>
                <a:gd name="T42" fmla="*/ 2467 w 2658"/>
                <a:gd name="T43" fmla="*/ 1054 h 3619"/>
                <a:gd name="T44" fmla="*/ 2326 w 2658"/>
                <a:gd name="T45" fmla="*/ 716 h 3619"/>
                <a:gd name="T46" fmla="*/ 2091 w 2658"/>
                <a:gd name="T47" fmla="*/ 441 h 3619"/>
                <a:gd name="T48" fmla="*/ 1785 w 2658"/>
                <a:gd name="T49" fmla="*/ 251 h 3619"/>
                <a:gd name="T50" fmla="*/ 1425 w 2658"/>
                <a:gd name="T51" fmla="*/ 161 h 3619"/>
                <a:gd name="T52" fmla="*/ 1534 w 2658"/>
                <a:gd name="T53" fmla="*/ 16 h 3619"/>
                <a:gd name="T54" fmla="*/ 1913 w 2658"/>
                <a:gd name="T55" fmla="*/ 135 h 3619"/>
                <a:gd name="T56" fmla="*/ 2234 w 2658"/>
                <a:gd name="T57" fmla="*/ 358 h 3619"/>
                <a:gd name="T58" fmla="*/ 2476 w 2658"/>
                <a:gd name="T59" fmla="*/ 662 h 3619"/>
                <a:gd name="T60" fmla="*/ 2623 w 2658"/>
                <a:gd name="T61" fmla="*/ 1031 h 3619"/>
                <a:gd name="T62" fmla="*/ 2655 w 2658"/>
                <a:gd name="T63" fmla="*/ 1435 h 3619"/>
                <a:gd name="T64" fmla="*/ 2574 w 2658"/>
                <a:gd name="T65" fmla="*/ 1809 h 3619"/>
                <a:gd name="T66" fmla="*/ 2395 w 2658"/>
                <a:gd name="T67" fmla="*/ 2137 h 3619"/>
                <a:gd name="T68" fmla="*/ 2131 w 2658"/>
                <a:gd name="T69" fmla="*/ 2403 h 3619"/>
                <a:gd name="T70" fmla="*/ 1798 w 2658"/>
                <a:gd name="T71" fmla="*/ 2588 h 3619"/>
                <a:gd name="T72" fmla="*/ 1766 w 2658"/>
                <a:gd name="T73" fmla="*/ 3367 h 3619"/>
                <a:gd name="T74" fmla="*/ 1642 w 2658"/>
                <a:gd name="T75" fmla="*/ 3540 h 3619"/>
                <a:gd name="T76" fmla="*/ 1589 w 2658"/>
                <a:gd name="T77" fmla="*/ 3615 h 3619"/>
                <a:gd name="T78" fmla="*/ 1048 w 2658"/>
                <a:gd name="T79" fmla="*/ 3603 h 3619"/>
                <a:gd name="T80" fmla="*/ 1016 w 2658"/>
                <a:gd name="T81" fmla="*/ 3383 h 3619"/>
                <a:gd name="T82" fmla="*/ 874 w 2658"/>
                <a:gd name="T83" fmla="*/ 3351 h 3619"/>
                <a:gd name="T84" fmla="*/ 770 w 2658"/>
                <a:gd name="T85" fmla="*/ 2550 h 3619"/>
                <a:gd name="T86" fmla="*/ 453 w 2658"/>
                <a:gd name="T87" fmla="*/ 2344 h 3619"/>
                <a:gd name="T88" fmla="*/ 209 w 2658"/>
                <a:gd name="T89" fmla="*/ 2060 h 3619"/>
                <a:gd name="T90" fmla="*/ 55 w 2658"/>
                <a:gd name="T91" fmla="*/ 1719 h 3619"/>
                <a:gd name="T92" fmla="*/ 0 w 2658"/>
                <a:gd name="T93" fmla="*/ 1337 h 3619"/>
                <a:gd name="T94" fmla="*/ 61 w 2658"/>
                <a:gd name="T95" fmla="*/ 935 h 3619"/>
                <a:gd name="T96" fmla="*/ 233 w 2658"/>
                <a:gd name="T97" fmla="*/ 579 h 3619"/>
                <a:gd name="T98" fmla="*/ 499 w 2658"/>
                <a:gd name="T99" fmla="*/ 294 h 3619"/>
                <a:gd name="T100" fmla="*/ 834 w 2658"/>
                <a:gd name="T101" fmla="*/ 95 h 3619"/>
                <a:gd name="T102" fmla="*/ 1225 w 2658"/>
                <a:gd name="T103" fmla="*/ 4 h 3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658" h="3619">
                  <a:moveTo>
                    <a:pt x="1016" y="2832"/>
                  </a:moveTo>
                  <a:lnTo>
                    <a:pt x="1016" y="3225"/>
                  </a:lnTo>
                  <a:lnTo>
                    <a:pt x="1094" y="3225"/>
                  </a:lnTo>
                  <a:lnTo>
                    <a:pt x="1120" y="3229"/>
                  </a:lnTo>
                  <a:lnTo>
                    <a:pt x="1141" y="3241"/>
                  </a:lnTo>
                  <a:lnTo>
                    <a:pt x="1157" y="3257"/>
                  </a:lnTo>
                  <a:lnTo>
                    <a:pt x="1169" y="3279"/>
                  </a:lnTo>
                  <a:lnTo>
                    <a:pt x="1173" y="3304"/>
                  </a:lnTo>
                  <a:lnTo>
                    <a:pt x="1173" y="3461"/>
                  </a:lnTo>
                  <a:lnTo>
                    <a:pt x="1485" y="3461"/>
                  </a:lnTo>
                  <a:lnTo>
                    <a:pt x="1485" y="3304"/>
                  </a:lnTo>
                  <a:lnTo>
                    <a:pt x="1489" y="3279"/>
                  </a:lnTo>
                  <a:lnTo>
                    <a:pt x="1501" y="3257"/>
                  </a:lnTo>
                  <a:lnTo>
                    <a:pt x="1517" y="3241"/>
                  </a:lnTo>
                  <a:lnTo>
                    <a:pt x="1538" y="3229"/>
                  </a:lnTo>
                  <a:lnTo>
                    <a:pt x="1563" y="3225"/>
                  </a:lnTo>
                  <a:lnTo>
                    <a:pt x="1642" y="3225"/>
                  </a:lnTo>
                  <a:lnTo>
                    <a:pt x="1642" y="2832"/>
                  </a:lnTo>
                  <a:lnTo>
                    <a:pt x="1016" y="2832"/>
                  </a:lnTo>
                  <a:close/>
                  <a:moveTo>
                    <a:pt x="1328" y="157"/>
                  </a:moveTo>
                  <a:lnTo>
                    <a:pt x="1233" y="161"/>
                  </a:lnTo>
                  <a:lnTo>
                    <a:pt x="1138" y="173"/>
                  </a:lnTo>
                  <a:lnTo>
                    <a:pt x="1048" y="192"/>
                  </a:lnTo>
                  <a:lnTo>
                    <a:pt x="958" y="217"/>
                  </a:lnTo>
                  <a:lnTo>
                    <a:pt x="873" y="251"/>
                  </a:lnTo>
                  <a:lnTo>
                    <a:pt x="790" y="290"/>
                  </a:lnTo>
                  <a:lnTo>
                    <a:pt x="712" y="334"/>
                  </a:lnTo>
                  <a:lnTo>
                    <a:pt x="637" y="385"/>
                  </a:lnTo>
                  <a:lnTo>
                    <a:pt x="566" y="441"/>
                  </a:lnTo>
                  <a:lnTo>
                    <a:pt x="500" y="503"/>
                  </a:lnTo>
                  <a:lnTo>
                    <a:pt x="439" y="570"/>
                  </a:lnTo>
                  <a:lnTo>
                    <a:pt x="383" y="641"/>
                  </a:lnTo>
                  <a:lnTo>
                    <a:pt x="332" y="716"/>
                  </a:lnTo>
                  <a:lnTo>
                    <a:pt x="287" y="795"/>
                  </a:lnTo>
                  <a:lnTo>
                    <a:pt x="248" y="878"/>
                  </a:lnTo>
                  <a:lnTo>
                    <a:pt x="216" y="964"/>
                  </a:lnTo>
                  <a:lnTo>
                    <a:pt x="191" y="1054"/>
                  </a:lnTo>
                  <a:lnTo>
                    <a:pt x="172" y="1146"/>
                  </a:lnTo>
                  <a:lnTo>
                    <a:pt x="160" y="1240"/>
                  </a:lnTo>
                  <a:lnTo>
                    <a:pt x="156" y="1337"/>
                  </a:lnTo>
                  <a:lnTo>
                    <a:pt x="160" y="1432"/>
                  </a:lnTo>
                  <a:lnTo>
                    <a:pt x="171" y="1526"/>
                  </a:lnTo>
                  <a:lnTo>
                    <a:pt x="189" y="1617"/>
                  </a:lnTo>
                  <a:lnTo>
                    <a:pt x="215" y="1706"/>
                  </a:lnTo>
                  <a:lnTo>
                    <a:pt x="245" y="1791"/>
                  </a:lnTo>
                  <a:lnTo>
                    <a:pt x="284" y="1875"/>
                  </a:lnTo>
                  <a:lnTo>
                    <a:pt x="328" y="1954"/>
                  </a:lnTo>
                  <a:lnTo>
                    <a:pt x="379" y="2029"/>
                  </a:lnTo>
                  <a:lnTo>
                    <a:pt x="435" y="2101"/>
                  </a:lnTo>
                  <a:lnTo>
                    <a:pt x="496" y="2168"/>
                  </a:lnTo>
                  <a:lnTo>
                    <a:pt x="561" y="2230"/>
                  </a:lnTo>
                  <a:lnTo>
                    <a:pt x="633" y="2288"/>
                  </a:lnTo>
                  <a:lnTo>
                    <a:pt x="709" y="2339"/>
                  </a:lnTo>
                  <a:lnTo>
                    <a:pt x="789" y="2384"/>
                  </a:lnTo>
                  <a:lnTo>
                    <a:pt x="874" y="2424"/>
                  </a:lnTo>
                  <a:lnTo>
                    <a:pt x="962" y="2458"/>
                  </a:lnTo>
                  <a:lnTo>
                    <a:pt x="980" y="2466"/>
                  </a:lnTo>
                  <a:lnTo>
                    <a:pt x="996" y="2479"/>
                  </a:lnTo>
                  <a:lnTo>
                    <a:pt x="1006" y="2494"/>
                  </a:lnTo>
                  <a:lnTo>
                    <a:pt x="1014" y="2513"/>
                  </a:lnTo>
                  <a:lnTo>
                    <a:pt x="1016" y="2532"/>
                  </a:lnTo>
                  <a:lnTo>
                    <a:pt x="1016" y="2675"/>
                  </a:lnTo>
                  <a:lnTo>
                    <a:pt x="1642" y="2675"/>
                  </a:lnTo>
                  <a:lnTo>
                    <a:pt x="1642" y="2532"/>
                  </a:lnTo>
                  <a:lnTo>
                    <a:pt x="1643" y="2513"/>
                  </a:lnTo>
                  <a:lnTo>
                    <a:pt x="1651" y="2494"/>
                  </a:lnTo>
                  <a:lnTo>
                    <a:pt x="1662" y="2479"/>
                  </a:lnTo>
                  <a:lnTo>
                    <a:pt x="1678" y="2466"/>
                  </a:lnTo>
                  <a:lnTo>
                    <a:pt x="1695" y="2458"/>
                  </a:lnTo>
                  <a:lnTo>
                    <a:pt x="1783" y="2424"/>
                  </a:lnTo>
                  <a:lnTo>
                    <a:pt x="1869" y="2384"/>
                  </a:lnTo>
                  <a:lnTo>
                    <a:pt x="1949" y="2339"/>
                  </a:lnTo>
                  <a:lnTo>
                    <a:pt x="2025" y="2288"/>
                  </a:lnTo>
                  <a:lnTo>
                    <a:pt x="2097" y="2230"/>
                  </a:lnTo>
                  <a:lnTo>
                    <a:pt x="2162" y="2168"/>
                  </a:lnTo>
                  <a:lnTo>
                    <a:pt x="2223" y="2101"/>
                  </a:lnTo>
                  <a:lnTo>
                    <a:pt x="2279" y="2029"/>
                  </a:lnTo>
                  <a:lnTo>
                    <a:pt x="2330" y="1954"/>
                  </a:lnTo>
                  <a:lnTo>
                    <a:pt x="2374" y="1875"/>
                  </a:lnTo>
                  <a:lnTo>
                    <a:pt x="2412" y="1791"/>
                  </a:lnTo>
                  <a:lnTo>
                    <a:pt x="2443" y="1706"/>
                  </a:lnTo>
                  <a:lnTo>
                    <a:pt x="2468" y="1617"/>
                  </a:lnTo>
                  <a:lnTo>
                    <a:pt x="2487" y="1526"/>
                  </a:lnTo>
                  <a:lnTo>
                    <a:pt x="2498" y="1432"/>
                  </a:lnTo>
                  <a:lnTo>
                    <a:pt x="2502" y="1337"/>
                  </a:lnTo>
                  <a:lnTo>
                    <a:pt x="2498" y="1240"/>
                  </a:lnTo>
                  <a:lnTo>
                    <a:pt x="2486" y="1146"/>
                  </a:lnTo>
                  <a:lnTo>
                    <a:pt x="2467" y="1054"/>
                  </a:lnTo>
                  <a:lnTo>
                    <a:pt x="2442" y="964"/>
                  </a:lnTo>
                  <a:lnTo>
                    <a:pt x="2410" y="878"/>
                  </a:lnTo>
                  <a:lnTo>
                    <a:pt x="2371" y="795"/>
                  </a:lnTo>
                  <a:lnTo>
                    <a:pt x="2326" y="716"/>
                  </a:lnTo>
                  <a:lnTo>
                    <a:pt x="2275" y="641"/>
                  </a:lnTo>
                  <a:lnTo>
                    <a:pt x="2219" y="570"/>
                  </a:lnTo>
                  <a:lnTo>
                    <a:pt x="2158" y="503"/>
                  </a:lnTo>
                  <a:lnTo>
                    <a:pt x="2091" y="441"/>
                  </a:lnTo>
                  <a:lnTo>
                    <a:pt x="2021" y="385"/>
                  </a:lnTo>
                  <a:lnTo>
                    <a:pt x="1946" y="334"/>
                  </a:lnTo>
                  <a:lnTo>
                    <a:pt x="1867" y="290"/>
                  </a:lnTo>
                  <a:lnTo>
                    <a:pt x="1785" y="251"/>
                  </a:lnTo>
                  <a:lnTo>
                    <a:pt x="1699" y="217"/>
                  </a:lnTo>
                  <a:lnTo>
                    <a:pt x="1610" y="192"/>
                  </a:lnTo>
                  <a:lnTo>
                    <a:pt x="1519" y="173"/>
                  </a:lnTo>
                  <a:lnTo>
                    <a:pt x="1425" y="161"/>
                  </a:lnTo>
                  <a:lnTo>
                    <a:pt x="1328" y="157"/>
                  </a:lnTo>
                  <a:close/>
                  <a:moveTo>
                    <a:pt x="1328" y="0"/>
                  </a:moveTo>
                  <a:lnTo>
                    <a:pt x="1433" y="4"/>
                  </a:lnTo>
                  <a:lnTo>
                    <a:pt x="1534" y="16"/>
                  </a:lnTo>
                  <a:lnTo>
                    <a:pt x="1633" y="35"/>
                  </a:lnTo>
                  <a:lnTo>
                    <a:pt x="1730" y="62"/>
                  </a:lnTo>
                  <a:lnTo>
                    <a:pt x="1823" y="95"/>
                  </a:lnTo>
                  <a:lnTo>
                    <a:pt x="1913" y="135"/>
                  </a:lnTo>
                  <a:lnTo>
                    <a:pt x="1999" y="182"/>
                  </a:lnTo>
                  <a:lnTo>
                    <a:pt x="2082" y="236"/>
                  </a:lnTo>
                  <a:lnTo>
                    <a:pt x="2159" y="294"/>
                  </a:lnTo>
                  <a:lnTo>
                    <a:pt x="2234" y="358"/>
                  </a:lnTo>
                  <a:lnTo>
                    <a:pt x="2302" y="428"/>
                  </a:lnTo>
                  <a:lnTo>
                    <a:pt x="2366" y="502"/>
                  </a:lnTo>
                  <a:lnTo>
                    <a:pt x="2424" y="579"/>
                  </a:lnTo>
                  <a:lnTo>
                    <a:pt x="2476" y="662"/>
                  </a:lnTo>
                  <a:lnTo>
                    <a:pt x="2523" y="750"/>
                  </a:lnTo>
                  <a:lnTo>
                    <a:pt x="2563" y="841"/>
                  </a:lnTo>
                  <a:lnTo>
                    <a:pt x="2596" y="935"/>
                  </a:lnTo>
                  <a:lnTo>
                    <a:pt x="2623" y="1031"/>
                  </a:lnTo>
                  <a:lnTo>
                    <a:pt x="2643" y="1130"/>
                  </a:lnTo>
                  <a:lnTo>
                    <a:pt x="2654" y="1232"/>
                  </a:lnTo>
                  <a:lnTo>
                    <a:pt x="2658" y="1337"/>
                  </a:lnTo>
                  <a:lnTo>
                    <a:pt x="2655" y="1435"/>
                  </a:lnTo>
                  <a:lnTo>
                    <a:pt x="2644" y="1531"/>
                  </a:lnTo>
                  <a:lnTo>
                    <a:pt x="2627" y="1627"/>
                  </a:lnTo>
                  <a:lnTo>
                    <a:pt x="2603" y="1719"/>
                  </a:lnTo>
                  <a:lnTo>
                    <a:pt x="2574" y="1809"/>
                  </a:lnTo>
                  <a:lnTo>
                    <a:pt x="2538" y="1896"/>
                  </a:lnTo>
                  <a:lnTo>
                    <a:pt x="2495" y="1979"/>
                  </a:lnTo>
                  <a:lnTo>
                    <a:pt x="2448" y="2060"/>
                  </a:lnTo>
                  <a:lnTo>
                    <a:pt x="2395" y="2137"/>
                  </a:lnTo>
                  <a:lnTo>
                    <a:pt x="2336" y="2210"/>
                  </a:lnTo>
                  <a:lnTo>
                    <a:pt x="2272" y="2280"/>
                  </a:lnTo>
                  <a:lnTo>
                    <a:pt x="2204" y="2344"/>
                  </a:lnTo>
                  <a:lnTo>
                    <a:pt x="2131" y="2403"/>
                  </a:lnTo>
                  <a:lnTo>
                    <a:pt x="2054" y="2458"/>
                  </a:lnTo>
                  <a:lnTo>
                    <a:pt x="1973" y="2508"/>
                  </a:lnTo>
                  <a:lnTo>
                    <a:pt x="1887" y="2550"/>
                  </a:lnTo>
                  <a:lnTo>
                    <a:pt x="1798" y="2588"/>
                  </a:lnTo>
                  <a:lnTo>
                    <a:pt x="1798" y="3304"/>
                  </a:lnTo>
                  <a:lnTo>
                    <a:pt x="1794" y="3329"/>
                  </a:lnTo>
                  <a:lnTo>
                    <a:pt x="1783" y="3351"/>
                  </a:lnTo>
                  <a:lnTo>
                    <a:pt x="1766" y="3367"/>
                  </a:lnTo>
                  <a:lnTo>
                    <a:pt x="1745" y="3379"/>
                  </a:lnTo>
                  <a:lnTo>
                    <a:pt x="1719" y="3383"/>
                  </a:lnTo>
                  <a:lnTo>
                    <a:pt x="1642" y="3383"/>
                  </a:lnTo>
                  <a:lnTo>
                    <a:pt x="1642" y="3540"/>
                  </a:lnTo>
                  <a:lnTo>
                    <a:pt x="1638" y="3565"/>
                  </a:lnTo>
                  <a:lnTo>
                    <a:pt x="1626" y="3587"/>
                  </a:lnTo>
                  <a:lnTo>
                    <a:pt x="1610" y="3603"/>
                  </a:lnTo>
                  <a:lnTo>
                    <a:pt x="1589" y="3615"/>
                  </a:lnTo>
                  <a:lnTo>
                    <a:pt x="1563" y="3619"/>
                  </a:lnTo>
                  <a:lnTo>
                    <a:pt x="1094" y="3619"/>
                  </a:lnTo>
                  <a:lnTo>
                    <a:pt x="1069" y="3615"/>
                  </a:lnTo>
                  <a:lnTo>
                    <a:pt x="1048" y="3603"/>
                  </a:lnTo>
                  <a:lnTo>
                    <a:pt x="1032" y="3587"/>
                  </a:lnTo>
                  <a:lnTo>
                    <a:pt x="1020" y="3565"/>
                  </a:lnTo>
                  <a:lnTo>
                    <a:pt x="1016" y="3540"/>
                  </a:lnTo>
                  <a:lnTo>
                    <a:pt x="1016" y="3383"/>
                  </a:lnTo>
                  <a:lnTo>
                    <a:pt x="938" y="3383"/>
                  </a:lnTo>
                  <a:lnTo>
                    <a:pt x="913" y="3379"/>
                  </a:lnTo>
                  <a:lnTo>
                    <a:pt x="892" y="3367"/>
                  </a:lnTo>
                  <a:lnTo>
                    <a:pt x="874" y="3351"/>
                  </a:lnTo>
                  <a:lnTo>
                    <a:pt x="864" y="3329"/>
                  </a:lnTo>
                  <a:lnTo>
                    <a:pt x="860" y="3304"/>
                  </a:lnTo>
                  <a:lnTo>
                    <a:pt x="860" y="2588"/>
                  </a:lnTo>
                  <a:lnTo>
                    <a:pt x="770" y="2550"/>
                  </a:lnTo>
                  <a:lnTo>
                    <a:pt x="685" y="2508"/>
                  </a:lnTo>
                  <a:lnTo>
                    <a:pt x="604" y="2458"/>
                  </a:lnTo>
                  <a:lnTo>
                    <a:pt x="527" y="2403"/>
                  </a:lnTo>
                  <a:lnTo>
                    <a:pt x="453" y="2344"/>
                  </a:lnTo>
                  <a:lnTo>
                    <a:pt x="385" y="2280"/>
                  </a:lnTo>
                  <a:lnTo>
                    <a:pt x="321" y="2210"/>
                  </a:lnTo>
                  <a:lnTo>
                    <a:pt x="263" y="2137"/>
                  </a:lnTo>
                  <a:lnTo>
                    <a:pt x="209" y="2060"/>
                  </a:lnTo>
                  <a:lnTo>
                    <a:pt x="163" y="1979"/>
                  </a:lnTo>
                  <a:lnTo>
                    <a:pt x="120" y="1896"/>
                  </a:lnTo>
                  <a:lnTo>
                    <a:pt x="84" y="1809"/>
                  </a:lnTo>
                  <a:lnTo>
                    <a:pt x="55" y="1719"/>
                  </a:lnTo>
                  <a:lnTo>
                    <a:pt x="31" y="1627"/>
                  </a:lnTo>
                  <a:lnTo>
                    <a:pt x="13" y="1531"/>
                  </a:lnTo>
                  <a:lnTo>
                    <a:pt x="3" y="1435"/>
                  </a:lnTo>
                  <a:lnTo>
                    <a:pt x="0" y="1337"/>
                  </a:lnTo>
                  <a:lnTo>
                    <a:pt x="4" y="1232"/>
                  </a:lnTo>
                  <a:lnTo>
                    <a:pt x="15" y="1130"/>
                  </a:lnTo>
                  <a:lnTo>
                    <a:pt x="35" y="1031"/>
                  </a:lnTo>
                  <a:lnTo>
                    <a:pt x="61" y="935"/>
                  </a:lnTo>
                  <a:lnTo>
                    <a:pt x="95" y="841"/>
                  </a:lnTo>
                  <a:lnTo>
                    <a:pt x="135" y="750"/>
                  </a:lnTo>
                  <a:lnTo>
                    <a:pt x="181" y="662"/>
                  </a:lnTo>
                  <a:lnTo>
                    <a:pt x="233" y="579"/>
                  </a:lnTo>
                  <a:lnTo>
                    <a:pt x="292" y="502"/>
                  </a:lnTo>
                  <a:lnTo>
                    <a:pt x="356" y="428"/>
                  </a:lnTo>
                  <a:lnTo>
                    <a:pt x="424" y="358"/>
                  </a:lnTo>
                  <a:lnTo>
                    <a:pt x="499" y="294"/>
                  </a:lnTo>
                  <a:lnTo>
                    <a:pt x="576" y="236"/>
                  </a:lnTo>
                  <a:lnTo>
                    <a:pt x="658" y="182"/>
                  </a:lnTo>
                  <a:lnTo>
                    <a:pt x="745" y="135"/>
                  </a:lnTo>
                  <a:lnTo>
                    <a:pt x="834" y="95"/>
                  </a:lnTo>
                  <a:lnTo>
                    <a:pt x="928" y="62"/>
                  </a:lnTo>
                  <a:lnTo>
                    <a:pt x="1025" y="35"/>
                  </a:lnTo>
                  <a:lnTo>
                    <a:pt x="1124" y="16"/>
                  </a:lnTo>
                  <a:lnTo>
                    <a:pt x="1225" y="4"/>
                  </a:lnTo>
                  <a:lnTo>
                    <a:pt x="132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01" name="Freeform 34"/>
            <p:cNvSpPr>
              <a:spLocks/>
            </p:cNvSpPr>
            <p:nvPr/>
          </p:nvSpPr>
          <p:spPr bwMode="auto">
            <a:xfrm>
              <a:off x="9677400" y="822325"/>
              <a:ext cx="82550" cy="250825"/>
            </a:xfrm>
            <a:custGeom>
              <a:avLst/>
              <a:gdLst>
                <a:gd name="T0" fmla="*/ 78 w 157"/>
                <a:gd name="T1" fmla="*/ 0 h 472"/>
                <a:gd name="T2" fmla="*/ 104 w 157"/>
                <a:gd name="T3" fmla="*/ 4 h 472"/>
                <a:gd name="T4" fmla="*/ 125 w 157"/>
                <a:gd name="T5" fmla="*/ 15 h 472"/>
                <a:gd name="T6" fmla="*/ 141 w 157"/>
                <a:gd name="T7" fmla="*/ 32 h 472"/>
                <a:gd name="T8" fmla="*/ 153 w 157"/>
                <a:gd name="T9" fmla="*/ 54 h 472"/>
                <a:gd name="T10" fmla="*/ 157 w 157"/>
                <a:gd name="T11" fmla="*/ 78 h 472"/>
                <a:gd name="T12" fmla="*/ 157 w 157"/>
                <a:gd name="T13" fmla="*/ 393 h 472"/>
                <a:gd name="T14" fmla="*/ 153 w 157"/>
                <a:gd name="T15" fmla="*/ 418 h 472"/>
                <a:gd name="T16" fmla="*/ 141 w 157"/>
                <a:gd name="T17" fmla="*/ 440 h 472"/>
                <a:gd name="T18" fmla="*/ 125 w 157"/>
                <a:gd name="T19" fmla="*/ 456 h 472"/>
                <a:gd name="T20" fmla="*/ 104 w 157"/>
                <a:gd name="T21" fmla="*/ 468 h 472"/>
                <a:gd name="T22" fmla="*/ 78 w 157"/>
                <a:gd name="T23" fmla="*/ 472 h 472"/>
                <a:gd name="T24" fmla="*/ 54 w 157"/>
                <a:gd name="T25" fmla="*/ 468 h 472"/>
                <a:gd name="T26" fmla="*/ 32 w 157"/>
                <a:gd name="T27" fmla="*/ 456 h 472"/>
                <a:gd name="T28" fmla="*/ 16 w 157"/>
                <a:gd name="T29" fmla="*/ 440 h 472"/>
                <a:gd name="T30" fmla="*/ 4 w 157"/>
                <a:gd name="T31" fmla="*/ 418 h 472"/>
                <a:gd name="T32" fmla="*/ 0 w 157"/>
                <a:gd name="T33" fmla="*/ 393 h 472"/>
                <a:gd name="T34" fmla="*/ 0 w 157"/>
                <a:gd name="T35" fmla="*/ 78 h 472"/>
                <a:gd name="T36" fmla="*/ 4 w 157"/>
                <a:gd name="T37" fmla="*/ 54 h 472"/>
                <a:gd name="T38" fmla="*/ 16 w 157"/>
                <a:gd name="T39" fmla="*/ 32 h 472"/>
                <a:gd name="T40" fmla="*/ 32 w 157"/>
                <a:gd name="T41" fmla="*/ 15 h 472"/>
                <a:gd name="T42" fmla="*/ 54 w 157"/>
                <a:gd name="T43" fmla="*/ 4 h 472"/>
                <a:gd name="T44" fmla="*/ 78 w 157"/>
                <a:gd name="T45" fmla="*/ 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7" h="472">
                  <a:moveTo>
                    <a:pt x="78" y="0"/>
                  </a:moveTo>
                  <a:lnTo>
                    <a:pt x="104" y="4"/>
                  </a:lnTo>
                  <a:lnTo>
                    <a:pt x="125" y="15"/>
                  </a:lnTo>
                  <a:lnTo>
                    <a:pt x="141" y="32"/>
                  </a:lnTo>
                  <a:lnTo>
                    <a:pt x="153" y="54"/>
                  </a:lnTo>
                  <a:lnTo>
                    <a:pt x="157" y="78"/>
                  </a:lnTo>
                  <a:lnTo>
                    <a:pt x="157" y="393"/>
                  </a:lnTo>
                  <a:lnTo>
                    <a:pt x="153" y="418"/>
                  </a:lnTo>
                  <a:lnTo>
                    <a:pt x="141" y="440"/>
                  </a:lnTo>
                  <a:lnTo>
                    <a:pt x="125" y="456"/>
                  </a:lnTo>
                  <a:lnTo>
                    <a:pt x="104" y="468"/>
                  </a:lnTo>
                  <a:lnTo>
                    <a:pt x="78" y="472"/>
                  </a:lnTo>
                  <a:lnTo>
                    <a:pt x="54" y="468"/>
                  </a:lnTo>
                  <a:lnTo>
                    <a:pt x="32" y="456"/>
                  </a:lnTo>
                  <a:lnTo>
                    <a:pt x="16" y="440"/>
                  </a:lnTo>
                  <a:lnTo>
                    <a:pt x="4" y="418"/>
                  </a:lnTo>
                  <a:lnTo>
                    <a:pt x="0" y="393"/>
                  </a:lnTo>
                  <a:lnTo>
                    <a:pt x="0" y="78"/>
                  </a:lnTo>
                  <a:lnTo>
                    <a:pt x="4" y="54"/>
                  </a:lnTo>
                  <a:lnTo>
                    <a:pt x="16" y="32"/>
                  </a:lnTo>
                  <a:lnTo>
                    <a:pt x="32" y="15"/>
                  </a:lnTo>
                  <a:lnTo>
                    <a:pt x="54" y="4"/>
                  </a:lnTo>
                  <a:lnTo>
                    <a:pt x="7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02" name="Freeform 35"/>
            <p:cNvSpPr>
              <a:spLocks/>
            </p:cNvSpPr>
            <p:nvPr/>
          </p:nvSpPr>
          <p:spPr bwMode="auto">
            <a:xfrm>
              <a:off x="10506075" y="1822450"/>
              <a:ext cx="247650" cy="82550"/>
            </a:xfrm>
            <a:custGeom>
              <a:avLst/>
              <a:gdLst>
                <a:gd name="T0" fmla="*/ 77 w 469"/>
                <a:gd name="T1" fmla="*/ 0 h 157"/>
                <a:gd name="T2" fmla="*/ 390 w 469"/>
                <a:gd name="T3" fmla="*/ 0 h 157"/>
                <a:gd name="T4" fmla="*/ 414 w 469"/>
                <a:gd name="T5" fmla="*/ 4 h 157"/>
                <a:gd name="T6" fmla="*/ 437 w 469"/>
                <a:gd name="T7" fmla="*/ 15 h 157"/>
                <a:gd name="T8" fmla="*/ 453 w 469"/>
                <a:gd name="T9" fmla="*/ 32 h 157"/>
                <a:gd name="T10" fmla="*/ 465 w 469"/>
                <a:gd name="T11" fmla="*/ 54 h 157"/>
                <a:gd name="T12" fmla="*/ 469 w 469"/>
                <a:gd name="T13" fmla="*/ 78 h 157"/>
                <a:gd name="T14" fmla="*/ 465 w 469"/>
                <a:gd name="T15" fmla="*/ 103 h 157"/>
                <a:gd name="T16" fmla="*/ 453 w 469"/>
                <a:gd name="T17" fmla="*/ 125 h 157"/>
                <a:gd name="T18" fmla="*/ 437 w 469"/>
                <a:gd name="T19" fmla="*/ 142 h 157"/>
                <a:gd name="T20" fmla="*/ 414 w 469"/>
                <a:gd name="T21" fmla="*/ 153 h 157"/>
                <a:gd name="T22" fmla="*/ 390 w 469"/>
                <a:gd name="T23" fmla="*/ 157 h 157"/>
                <a:gd name="T24" fmla="*/ 77 w 469"/>
                <a:gd name="T25" fmla="*/ 157 h 157"/>
                <a:gd name="T26" fmla="*/ 53 w 469"/>
                <a:gd name="T27" fmla="*/ 153 h 157"/>
                <a:gd name="T28" fmla="*/ 32 w 469"/>
                <a:gd name="T29" fmla="*/ 142 h 157"/>
                <a:gd name="T30" fmla="*/ 15 w 469"/>
                <a:gd name="T31" fmla="*/ 125 h 157"/>
                <a:gd name="T32" fmla="*/ 4 w 469"/>
                <a:gd name="T33" fmla="*/ 103 h 157"/>
                <a:gd name="T34" fmla="*/ 0 w 469"/>
                <a:gd name="T35" fmla="*/ 78 h 157"/>
                <a:gd name="T36" fmla="*/ 4 w 469"/>
                <a:gd name="T37" fmla="*/ 54 h 157"/>
                <a:gd name="T38" fmla="*/ 15 w 469"/>
                <a:gd name="T39" fmla="*/ 32 h 157"/>
                <a:gd name="T40" fmla="*/ 32 w 469"/>
                <a:gd name="T41" fmla="*/ 15 h 157"/>
                <a:gd name="T42" fmla="*/ 53 w 469"/>
                <a:gd name="T43" fmla="*/ 4 h 157"/>
                <a:gd name="T44" fmla="*/ 77 w 469"/>
                <a:gd name="T4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9" h="157">
                  <a:moveTo>
                    <a:pt x="77" y="0"/>
                  </a:moveTo>
                  <a:lnTo>
                    <a:pt x="390" y="0"/>
                  </a:lnTo>
                  <a:lnTo>
                    <a:pt x="414" y="4"/>
                  </a:lnTo>
                  <a:lnTo>
                    <a:pt x="437" y="15"/>
                  </a:lnTo>
                  <a:lnTo>
                    <a:pt x="453" y="32"/>
                  </a:lnTo>
                  <a:lnTo>
                    <a:pt x="465" y="54"/>
                  </a:lnTo>
                  <a:lnTo>
                    <a:pt x="469" y="78"/>
                  </a:lnTo>
                  <a:lnTo>
                    <a:pt x="465" y="103"/>
                  </a:lnTo>
                  <a:lnTo>
                    <a:pt x="453" y="125"/>
                  </a:lnTo>
                  <a:lnTo>
                    <a:pt x="437" y="142"/>
                  </a:lnTo>
                  <a:lnTo>
                    <a:pt x="414" y="153"/>
                  </a:lnTo>
                  <a:lnTo>
                    <a:pt x="390" y="157"/>
                  </a:lnTo>
                  <a:lnTo>
                    <a:pt x="77" y="157"/>
                  </a:lnTo>
                  <a:lnTo>
                    <a:pt x="53" y="153"/>
                  </a:lnTo>
                  <a:lnTo>
                    <a:pt x="32" y="142"/>
                  </a:lnTo>
                  <a:lnTo>
                    <a:pt x="15" y="125"/>
                  </a:lnTo>
                  <a:lnTo>
                    <a:pt x="4" y="103"/>
                  </a:lnTo>
                  <a:lnTo>
                    <a:pt x="0" y="78"/>
                  </a:lnTo>
                  <a:lnTo>
                    <a:pt x="4" y="54"/>
                  </a:lnTo>
                  <a:lnTo>
                    <a:pt x="15" y="32"/>
                  </a:lnTo>
                  <a:lnTo>
                    <a:pt x="32" y="15"/>
                  </a:lnTo>
                  <a:lnTo>
                    <a:pt x="53" y="4"/>
                  </a:lnTo>
                  <a:lnTo>
                    <a:pt x="7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03" name="Freeform 36"/>
            <p:cNvSpPr>
              <a:spLocks/>
            </p:cNvSpPr>
            <p:nvPr/>
          </p:nvSpPr>
          <p:spPr bwMode="auto">
            <a:xfrm>
              <a:off x="8685213" y="1822450"/>
              <a:ext cx="247650" cy="82550"/>
            </a:xfrm>
            <a:custGeom>
              <a:avLst/>
              <a:gdLst>
                <a:gd name="T0" fmla="*/ 78 w 469"/>
                <a:gd name="T1" fmla="*/ 0 h 157"/>
                <a:gd name="T2" fmla="*/ 392 w 469"/>
                <a:gd name="T3" fmla="*/ 0 h 157"/>
                <a:gd name="T4" fmla="*/ 415 w 469"/>
                <a:gd name="T5" fmla="*/ 4 h 157"/>
                <a:gd name="T6" fmla="*/ 437 w 469"/>
                <a:gd name="T7" fmla="*/ 15 h 157"/>
                <a:gd name="T8" fmla="*/ 454 w 469"/>
                <a:gd name="T9" fmla="*/ 32 h 157"/>
                <a:gd name="T10" fmla="*/ 465 w 469"/>
                <a:gd name="T11" fmla="*/ 54 h 157"/>
                <a:gd name="T12" fmla="*/ 469 w 469"/>
                <a:gd name="T13" fmla="*/ 78 h 157"/>
                <a:gd name="T14" fmla="*/ 465 w 469"/>
                <a:gd name="T15" fmla="*/ 103 h 157"/>
                <a:gd name="T16" fmla="*/ 454 w 469"/>
                <a:gd name="T17" fmla="*/ 125 h 157"/>
                <a:gd name="T18" fmla="*/ 437 w 469"/>
                <a:gd name="T19" fmla="*/ 142 h 157"/>
                <a:gd name="T20" fmla="*/ 415 w 469"/>
                <a:gd name="T21" fmla="*/ 153 h 157"/>
                <a:gd name="T22" fmla="*/ 392 w 469"/>
                <a:gd name="T23" fmla="*/ 157 h 157"/>
                <a:gd name="T24" fmla="*/ 78 w 469"/>
                <a:gd name="T25" fmla="*/ 157 h 157"/>
                <a:gd name="T26" fmla="*/ 54 w 469"/>
                <a:gd name="T27" fmla="*/ 153 h 157"/>
                <a:gd name="T28" fmla="*/ 32 w 469"/>
                <a:gd name="T29" fmla="*/ 142 h 157"/>
                <a:gd name="T30" fmla="*/ 16 w 469"/>
                <a:gd name="T31" fmla="*/ 125 h 157"/>
                <a:gd name="T32" fmla="*/ 4 w 469"/>
                <a:gd name="T33" fmla="*/ 103 h 157"/>
                <a:gd name="T34" fmla="*/ 0 w 469"/>
                <a:gd name="T35" fmla="*/ 78 h 157"/>
                <a:gd name="T36" fmla="*/ 4 w 469"/>
                <a:gd name="T37" fmla="*/ 54 h 157"/>
                <a:gd name="T38" fmla="*/ 16 w 469"/>
                <a:gd name="T39" fmla="*/ 32 h 157"/>
                <a:gd name="T40" fmla="*/ 32 w 469"/>
                <a:gd name="T41" fmla="*/ 15 h 157"/>
                <a:gd name="T42" fmla="*/ 54 w 469"/>
                <a:gd name="T43" fmla="*/ 4 h 157"/>
                <a:gd name="T44" fmla="*/ 78 w 469"/>
                <a:gd name="T45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9" h="157">
                  <a:moveTo>
                    <a:pt x="78" y="0"/>
                  </a:moveTo>
                  <a:lnTo>
                    <a:pt x="392" y="0"/>
                  </a:lnTo>
                  <a:lnTo>
                    <a:pt x="415" y="4"/>
                  </a:lnTo>
                  <a:lnTo>
                    <a:pt x="437" y="15"/>
                  </a:lnTo>
                  <a:lnTo>
                    <a:pt x="454" y="32"/>
                  </a:lnTo>
                  <a:lnTo>
                    <a:pt x="465" y="54"/>
                  </a:lnTo>
                  <a:lnTo>
                    <a:pt x="469" y="78"/>
                  </a:lnTo>
                  <a:lnTo>
                    <a:pt x="465" y="103"/>
                  </a:lnTo>
                  <a:lnTo>
                    <a:pt x="454" y="125"/>
                  </a:lnTo>
                  <a:lnTo>
                    <a:pt x="437" y="142"/>
                  </a:lnTo>
                  <a:lnTo>
                    <a:pt x="415" y="153"/>
                  </a:lnTo>
                  <a:lnTo>
                    <a:pt x="392" y="157"/>
                  </a:lnTo>
                  <a:lnTo>
                    <a:pt x="78" y="157"/>
                  </a:lnTo>
                  <a:lnTo>
                    <a:pt x="54" y="153"/>
                  </a:lnTo>
                  <a:lnTo>
                    <a:pt x="32" y="142"/>
                  </a:lnTo>
                  <a:lnTo>
                    <a:pt x="16" y="125"/>
                  </a:lnTo>
                  <a:lnTo>
                    <a:pt x="4" y="103"/>
                  </a:lnTo>
                  <a:lnTo>
                    <a:pt x="0" y="78"/>
                  </a:lnTo>
                  <a:lnTo>
                    <a:pt x="4" y="54"/>
                  </a:lnTo>
                  <a:lnTo>
                    <a:pt x="16" y="32"/>
                  </a:lnTo>
                  <a:lnTo>
                    <a:pt x="32" y="15"/>
                  </a:lnTo>
                  <a:lnTo>
                    <a:pt x="54" y="4"/>
                  </a:lnTo>
                  <a:lnTo>
                    <a:pt x="7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04" name="Freeform 37"/>
            <p:cNvSpPr>
              <a:spLocks/>
            </p:cNvSpPr>
            <p:nvPr/>
          </p:nvSpPr>
          <p:spPr bwMode="auto">
            <a:xfrm>
              <a:off x="10263188" y="1116013"/>
              <a:ext cx="200025" cy="200025"/>
            </a:xfrm>
            <a:custGeom>
              <a:avLst/>
              <a:gdLst>
                <a:gd name="T0" fmla="*/ 300 w 378"/>
                <a:gd name="T1" fmla="*/ 0 h 379"/>
                <a:gd name="T2" fmla="*/ 319 w 378"/>
                <a:gd name="T3" fmla="*/ 2 h 379"/>
                <a:gd name="T4" fmla="*/ 338 w 378"/>
                <a:gd name="T5" fmla="*/ 10 h 379"/>
                <a:gd name="T6" fmla="*/ 355 w 378"/>
                <a:gd name="T7" fmla="*/ 22 h 379"/>
                <a:gd name="T8" fmla="*/ 368 w 378"/>
                <a:gd name="T9" fmla="*/ 40 h 379"/>
                <a:gd name="T10" fmla="*/ 375 w 378"/>
                <a:gd name="T11" fmla="*/ 59 h 379"/>
                <a:gd name="T12" fmla="*/ 378 w 378"/>
                <a:gd name="T13" fmla="*/ 79 h 379"/>
                <a:gd name="T14" fmla="*/ 375 w 378"/>
                <a:gd name="T15" fmla="*/ 99 h 379"/>
                <a:gd name="T16" fmla="*/ 368 w 378"/>
                <a:gd name="T17" fmla="*/ 118 h 379"/>
                <a:gd name="T18" fmla="*/ 355 w 378"/>
                <a:gd name="T19" fmla="*/ 134 h 379"/>
                <a:gd name="T20" fmla="*/ 134 w 378"/>
                <a:gd name="T21" fmla="*/ 356 h 379"/>
                <a:gd name="T22" fmla="*/ 118 w 378"/>
                <a:gd name="T23" fmla="*/ 370 h 379"/>
                <a:gd name="T24" fmla="*/ 99 w 378"/>
                <a:gd name="T25" fmla="*/ 376 h 379"/>
                <a:gd name="T26" fmla="*/ 79 w 378"/>
                <a:gd name="T27" fmla="*/ 379 h 379"/>
                <a:gd name="T28" fmla="*/ 59 w 378"/>
                <a:gd name="T29" fmla="*/ 376 h 379"/>
                <a:gd name="T30" fmla="*/ 40 w 378"/>
                <a:gd name="T31" fmla="*/ 370 h 379"/>
                <a:gd name="T32" fmla="*/ 23 w 378"/>
                <a:gd name="T33" fmla="*/ 356 h 379"/>
                <a:gd name="T34" fmla="*/ 11 w 378"/>
                <a:gd name="T35" fmla="*/ 339 h 379"/>
                <a:gd name="T36" fmla="*/ 3 w 378"/>
                <a:gd name="T37" fmla="*/ 320 h 379"/>
                <a:gd name="T38" fmla="*/ 0 w 378"/>
                <a:gd name="T39" fmla="*/ 301 h 379"/>
                <a:gd name="T40" fmla="*/ 3 w 378"/>
                <a:gd name="T41" fmla="*/ 281 h 379"/>
                <a:gd name="T42" fmla="*/ 11 w 378"/>
                <a:gd name="T43" fmla="*/ 262 h 379"/>
                <a:gd name="T44" fmla="*/ 23 w 378"/>
                <a:gd name="T45" fmla="*/ 245 h 379"/>
                <a:gd name="T46" fmla="*/ 244 w 378"/>
                <a:gd name="T47" fmla="*/ 22 h 379"/>
                <a:gd name="T48" fmla="*/ 262 w 378"/>
                <a:gd name="T49" fmla="*/ 10 h 379"/>
                <a:gd name="T50" fmla="*/ 280 w 378"/>
                <a:gd name="T51" fmla="*/ 2 h 379"/>
                <a:gd name="T52" fmla="*/ 300 w 378"/>
                <a:gd name="T53" fmla="*/ 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8" h="379">
                  <a:moveTo>
                    <a:pt x="300" y="0"/>
                  </a:moveTo>
                  <a:lnTo>
                    <a:pt x="319" y="2"/>
                  </a:lnTo>
                  <a:lnTo>
                    <a:pt x="338" y="10"/>
                  </a:lnTo>
                  <a:lnTo>
                    <a:pt x="355" y="22"/>
                  </a:lnTo>
                  <a:lnTo>
                    <a:pt x="368" y="40"/>
                  </a:lnTo>
                  <a:lnTo>
                    <a:pt x="375" y="59"/>
                  </a:lnTo>
                  <a:lnTo>
                    <a:pt x="378" y="79"/>
                  </a:lnTo>
                  <a:lnTo>
                    <a:pt x="375" y="99"/>
                  </a:lnTo>
                  <a:lnTo>
                    <a:pt x="368" y="118"/>
                  </a:lnTo>
                  <a:lnTo>
                    <a:pt x="355" y="134"/>
                  </a:lnTo>
                  <a:lnTo>
                    <a:pt x="134" y="356"/>
                  </a:lnTo>
                  <a:lnTo>
                    <a:pt x="118" y="370"/>
                  </a:lnTo>
                  <a:lnTo>
                    <a:pt x="99" y="376"/>
                  </a:lnTo>
                  <a:lnTo>
                    <a:pt x="79" y="379"/>
                  </a:lnTo>
                  <a:lnTo>
                    <a:pt x="59" y="376"/>
                  </a:lnTo>
                  <a:lnTo>
                    <a:pt x="40" y="370"/>
                  </a:lnTo>
                  <a:lnTo>
                    <a:pt x="23" y="356"/>
                  </a:lnTo>
                  <a:lnTo>
                    <a:pt x="11" y="339"/>
                  </a:lnTo>
                  <a:lnTo>
                    <a:pt x="3" y="320"/>
                  </a:lnTo>
                  <a:lnTo>
                    <a:pt x="0" y="301"/>
                  </a:lnTo>
                  <a:lnTo>
                    <a:pt x="3" y="281"/>
                  </a:lnTo>
                  <a:lnTo>
                    <a:pt x="11" y="262"/>
                  </a:lnTo>
                  <a:lnTo>
                    <a:pt x="23" y="245"/>
                  </a:lnTo>
                  <a:lnTo>
                    <a:pt x="244" y="22"/>
                  </a:lnTo>
                  <a:lnTo>
                    <a:pt x="262" y="10"/>
                  </a:lnTo>
                  <a:lnTo>
                    <a:pt x="280" y="2"/>
                  </a:lnTo>
                  <a:lnTo>
                    <a:pt x="30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05" name="Freeform 38"/>
            <p:cNvSpPr>
              <a:spLocks/>
            </p:cNvSpPr>
            <p:nvPr/>
          </p:nvSpPr>
          <p:spPr bwMode="auto">
            <a:xfrm>
              <a:off x="8975725" y="2409825"/>
              <a:ext cx="200025" cy="201613"/>
            </a:xfrm>
            <a:custGeom>
              <a:avLst/>
              <a:gdLst>
                <a:gd name="T0" fmla="*/ 299 w 377"/>
                <a:gd name="T1" fmla="*/ 0 h 381"/>
                <a:gd name="T2" fmla="*/ 319 w 377"/>
                <a:gd name="T3" fmla="*/ 2 h 381"/>
                <a:gd name="T4" fmla="*/ 337 w 377"/>
                <a:gd name="T5" fmla="*/ 10 h 381"/>
                <a:gd name="T6" fmla="*/ 355 w 377"/>
                <a:gd name="T7" fmla="*/ 24 h 381"/>
                <a:gd name="T8" fmla="*/ 367 w 377"/>
                <a:gd name="T9" fmla="*/ 40 h 381"/>
                <a:gd name="T10" fmla="*/ 375 w 377"/>
                <a:gd name="T11" fmla="*/ 59 h 381"/>
                <a:gd name="T12" fmla="*/ 377 w 377"/>
                <a:gd name="T13" fmla="*/ 79 h 381"/>
                <a:gd name="T14" fmla="*/ 375 w 377"/>
                <a:gd name="T15" fmla="*/ 99 h 381"/>
                <a:gd name="T16" fmla="*/ 367 w 377"/>
                <a:gd name="T17" fmla="*/ 118 h 381"/>
                <a:gd name="T18" fmla="*/ 355 w 377"/>
                <a:gd name="T19" fmla="*/ 134 h 381"/>
                <a:gd name="T20" fmla="*/ 133 w 377"/>
                <a:gd name="T21" fmla="*/ 356 h 381"/>
                <a:gd name="T22" fmla="*/ 116 w 377"/>
                <a:gd name="T23" fmla="*/ 370 h 381"/>
                <a:gd name="T24" fmla="*/ 97 w 377"/>
                <a:gd name="T25" fmla="*/ 378 h 381"/>
                <a:gd name="T26" fmla="*/ 77 w 377"/>
                <a:gd name="T27" fmla="*/ 381 h 381"/>
                <a:gd name="T28" fmla="*/ 57 w 377"/>
                <a:gd name="T29" fmla="*/ 378 h 381"/>
                <a:gd name="T30" fmla="*/ 39 w 377"/>
                <a:gd name="T31" fmla="*/ 370 h 381"/>
                <a:gd name="T32" fmla="*/ 23 w 377"/>
                <a:gd name="T33" fmla="*/ 356 h 381"/>
                <a:gd name="T34" fmla="*/ 9 w 377"/>
                <a:gd name="T35" fmla="*/ 340 h 381"/>
                <a:gd name="T36" fmla="*/ 3 w 377"/>
                <a:gd name="T37" fmla="*/ 322 h 381"/>
                <a:gd name="T38" fmla="*/ 0 w 377"/>
                <a:gd name="T39" fmla="*/ 301 h 381"/>
                <a:gd name="T40" fmla="*/ 3 w 377"/>
                <a:gd name="T41" fmla="*/ 281 h 381"/>
                <a:gd name="T42" fmla="*/ 9 w 377"/>
                <a:gd name="T43" fmla="*/ 263 h 381"/>
                <a:gd name="T44" fmla="*/ 23 w 377"/>
                <a:gd name="T45" fmla="*/ 246 h 381"/>
                <a:gd name="T46" fmla="*/ 244 w 377"/>
                <a:gd name="T47" fmla="*/ 24 h 381"/>
                <a:gd name="T48" fmla="*/ 260 w 377"/>
                <a:gd name="T49" fmla="*/ 10 h 381"/>
                <a:gd name="T50" fmla="*/ 279 w 377"/>
                <a:gd name="T51" fmla="*/ 2 h 381"/>
                <a:gd name="T52" fmla="*/ 299 w 377"/>
                <a:gd name="T53" fmla="*/ 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7" h="381">
                  <a:moveTo>
                    <a:pt x="299" y="0"/>
                  </a:moveTo>
                  <a:lnTo>
                    <a:pt x="319" y="2"/>
                  </a:lnTo>
                  <a:lnTo>
                    <a:pt x="337" y="10"/>
                  </a:lnTo>
                  <a:lnTo>
                    <a:pt x="355" y="24"/>
                  </a:lnTo>
                  <a:lnTo>
                    <a:pt x="367" y="40"/>
                  </a:lnTo>
                  <a:lnTo>
                    <a:pt x="375" y="59"/>
                  </a:lnTo>
                  <a:lnTo>
                    <a:pt x="377" y="79"/>
                  </a:lnTo>
                  <a:lnTo>
                    <a:pt x="375" y="99"/>
                  </a:lnTo>
                  <a:lnTo>
                    <a:pt x="367" y="118"/>
                  </a:lnTo>
                  <a:lnTo>
                    <a:pt x="355" y="134"/>
                  </a:lnTo>
                  <a:lnTo>
                    <a:pt x="133" y="356"/>
                  </a:lnTo>
                  <a:lnTo>
                    <a:pt x="116" y="370"/>
                  </a:lnTo>
                  <a:lnTo>
                    <a:pt x="97" y="378"/>
                  </a:lnTo>
                  <a:lnTo>
                    <a:pt x="77" y="381"/>
                  </a:lnTo>
                  <a:lnTo>
                    <a:pt x="57" y="378"/>
                  </a:lnTo>
                  <a:lnTo>
                    <a:pt x="39" y="370"/>
                  </a:lnTo>
                  <a:lnTo>
                    <a:pt x="23" y="356"/>
                  </a:lnTo>
                  <a:lnTo>
                    <a:pt x="9" y="340"/>
                  </a:lnTo>
                  <a:lnTo>
                    <a:pt x="3" y="322"/>
                  </a:lnTo>
                  <a:lnTo>
                    <a:pt x="0" y="301"/>
                  </a:lnTo>
                  <a:lnTo>
                    <a:pt x="3" y="281"/>
                  </a:lnTo>
                  <a:lnTo>
                    <a:pt x="9" y="263"/>
                  </a:lnTo>
                  <a:lnTo>
                    <a:pt x="23" y="246"/>
                  </a:lnTo>
                  <a:lnTo>
                    <a:pt x="244" y="24"/>
                  </a:lnTo>
                  <a:lnTo>
                    <a:pt x="260" y="10"/>
                  </a:lnTo>
                  <a:lnTo>
                    <a:pt x="279" y="2"/>
                  </a:lnTo>
                  <a:lnTo>
                    <a:pt x="2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06" name="Freeform 39"/>
            <p:cNvSpPr>
              <a:spLocks/>
            </p:cNvSpPr>
            <p:nvPr/>
          </p:nvSpPr>
          <p:spPr bwMode="auto">
            <a:xfrm>
              <a:off x="10263188" y="2409825"/>
              <a:ext cx="200025" cy="201613"/>
            </a:xfrm>
            <a:custGeom>
              <a:avLst/>
              <a:gdLst>
                <a:gd name="T0" fmla="*/ 79 w 378"/>
                <a:gd name="T1" fmla="*/ 0 h 381"/>
                <a:gd name="T2" fmla="*/ 99 w 378"/>
                <a:gd name="T3" fmla="*/ 2 h 381"/>
                <a:gd name="T4" fmla="*/ 118 w 378"/>
                <a:gd name="T5" fmla="*/ 10 h 381"/>
                <a:gd name="T6" fmla="*/ 134 w 378"/>
                <a:gd name="T7" fmla="*/ 24 h 381"/>
                <a:gd name="T8" fmla="*/ 355 w 378"/>
                <a:gd name="T9" fmla="*/ 246 h 381"/>
                <a:gd name="T10" fmla="*/ 368 w 378"/>
                <a:gd name="T11" fmla="*/ 263 h 381"/>
                <a:gd name="T12" fmla="*/ 375 w 378"/>
                <a:gd name="T13" fmla="*/ 281 h 381"/>
                <a:gd name="T14" fmla="*/ 378 w 378"/>
                <a:gd name="T15" fmla="*/ 301 h 381"/>
                <a:gd name="T16" fmla="*/ 375 w 378"/>
                <a:gd name="T17" fmla="*/ 322 h 381"/>
                <a:gd name="T18" fmla="*/ 368 w 378"/>
                <a:gd name="T19" fmla="*/ 340 h 381"/>
                <a:gd name="T20" fmla="*/ 355 w 378"/>
                <a:gd name="T21" fmla="*/ 356 h 381"/>
                <a:gd name="T22" fmla="*/ 339 w 378"/>
                <a:gd name="T23" fmla="*/ 370 h 381"/>
                <a:gd name="T24" fmla="*/ 320 w 378"/>
                <a:gd name="T25" fmla="*/ 378 h 381"/>
                <a:gd name="T26" fmla="*/ 300 w 378"/>
                <a:gd name="T27" fmla="*/ 381 h 381"/>
                <a:gd name="T28" fmla="*/ 280 w 378"/>
                <a:gd name="T29" fmla="*/ 378 h 381"/>
                <a:gd name="T30" fmla="*/ 262 w 378"/>
                <a:gd name="T31" fmla="*/ 370 h 381"/>
                <a:gd name="T32" fmla="*/ 244 w 378"/>
                <a:gd name="T33" fmla="*/ 356 h 381"/>
                <a:gd name="T34" fmla="*/ 23 w 378"/>
                <a:gd name="T35" fmla="*/ 134 h 381"/>
                <a:gd name="T36" fmla="*/ 11 w 378"/>
                <a:gd name="T37" fmla="*/ 118 h 381"/>
                <a:gd name="T38" fmla="*/ 3 w 378"/>
                <a:gd name="T39" fmla="*/ 99 h 381"/>
                <a:gd name="T40" fmla="*/ 0 w 378"/>
                <a:gd name="T41" fmla="*/ 79 h 381"/>
                <a:gd name="T42" fmla="*/ 3 w 378"/>
                <a:gd name="T43" fmla="*/ 59 h 381"/>
                <a:gd name="T44" fmla="*/ 11 w 378"/>
                <a:gd name="T45" fmla="*/ 40 h 381"/>
                <a:gd name="T46" fmla="*/ 23 w 378"/>
                <a:gd name="T47" fmla="*/ 24 h 381"/>
                <a:gd name="T48" fmla="*/ 40 w 378"/>
                <a:gd name="T49" fmla="*/ 10 h 381"/>
                <a:gd name="T50" fmla="*/ 59 w 378"/>
                <a:gd name="T51" fmla="*/ 2 h 381"/>
                <a:gd name="T52" fmla="*/ 79 w 378"/>
                <a:gd name="T53" fmla="*/ 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8" h="381">
                  <a:moveTo>
                    <a:pt x="79" y="0"/>
                  </a:moveTo>
                  <a:lnTo>
                    <a:pt x="99" y="2"/>
                  </a:lnTo>
                  <a:lnTo>
                    <a:pt x="118" y="10"/>
                  </a:lnTo>
                  <a:lnTo>
                    <a:pt x="134" y="24"/>
                  </a:lnTo>
                  <a:lnTo>
                    <a:pt x="355" y="246"/>
                  </a:lnTo>
                  <a:lnTo>
                    <a:pt x="368" y="263"/>
                  </a:lnTo>
                  <a:lnTo>
                    <a:pt x="375" y="281"/>
                  </a:lnTo>
                  <a:lnTo>
                    <a:pt x="378" y="301"/>
                  </a:lnTo>
                  <a:lnTo>
                    <a:pt x="375" y="322"/>
                  </a:lnTo>
                  <a:lnTo>
                    <a:pt x="368" y="340"/>
                  </a:lnTo>
                  <a:lnTo>
                    <a:pt x="355" y="356"/>
                  </a:lnTo>
                  <a:lnTo>
                    <a:pt x="339" y="370"/>
                  </a:lnTo>
                  <a:lnTo>
                    <a:pt x="320" y="378"/>
                  </a:lnTo>
                  <a:lnTo>
                    <a:pt x="300" y="381"/>
                  </a:lnTo>
                  <a:lnTo>
                    <a:pt x="280" y="378"/>
                  </a:lnTo>
                  <a:lnTo>
                    <a:pt x="262" y="370"/>
                  </a:lnTo>
                  <a:lnTo>
                    <a:pt x="244" y="356"/>
                  </a:lnTo>
                  <a:lnTo>
                    <a:pt x="23" y="134"/>
                  </a:lnTo>
                  <a:lnTo>
                    <a:pt x="11" y="118"/>
                  </a:lnTo>
                  <a:lnTo>
                    <a:pt x="3" y="99"/>
                  </a:lnTo>
                  <a:lnTo>
                    <a:pt x="0" y="79"/>
                  </a:lnTo>
                  <a:lnTo>
                    <a:pt x="3" y="59"/>
                  </a:lnTo>
                  <a:lnTo>
                    <a:pt x="11" y="40"/>
                  </a:lnTo>
                  <a:lnTo>
                    <a:pt x="23" y="24"/>
                  </a:lnTo>
                  <a:lnTo>
                    <a:pt x="40" y="10"/>
                  </a:lnTo>
                  <a:lnTo>
                    <a:pt x="59" y="2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07" name="Freeform 40"/>
            <p:cNvSpPr>
              <a:spLocks/>
            </p:cNvSpPr>
            <p:nvPr/>
          </p:nvSpPr>
          <p:spPr bwMode="auto">
            <a:xfrm>
              <a:off x="8975725" y="1116013"/>
              <a:ext cx="200025" cy="200025"/>
            </a:xfrm>
            <a:custGeom>
              <a:avLst/>
              <a:gdLst>
                <a:gd name="T0" fmla="*/ 77 w 377"/>
                <a:gd name="T1" fmla="*/ 0 h 379"/>
                <a:gd name="T2" fmla="*/ 97 w 377"/>
                <a:gd name="T3" fmla="*/ 2 h 379"/>
                <a:gd name="T4" fmla="*/ 116 w 377"/>
                <a:gd name="T5" fmla="*/ 10 h 379"/>
                <a:gd name="T6" fmla="*/ 133 w 377"/>
                <a:gd name="T7" fmla="*/ 22 h 379"/>
                <a:gd name="T8" fmla="*/ 355 w 377"/>
                <a:gd name="T9" fmla="*/ 245 h 379"/>
                <a:gd name="T10" fmla="*/ 367 w 377"/>
                <a:gd name="T11" fmla="*/ 262 h 379"/>
                <a:gd name="T12" fmla="*/ 375 w 377"/>
                <a:gd name="T13" fmla="*/ 281 h 379"/>
                <a:gd name="T14" fmla="*/ 377 w 377"/>
                <a:gd name="T15" fmla="*/ 301 h 379"/>
                <a:gd name="T16" fmla="*/ 375 w 377"/>
                <a:gd name="T17" fmla="*/ 320 h 379"/>
                <a:gd name="T18" fmla="*/ 367 w 377"/>
                <a:gd name="T19" fmla="*/ 339 h 379"/>
                <a:gd name="T20" fmla="*/ 355 w 377"/>
                <a:gd name="T21" fmla="*/ 356 h 379"/>
                <a:gd name="T22" fmla="*/ 337 w 377"/>
                <a:gd name="T23" fmla="*/ 370 h 379"/>
                <a:gd name="T24" fmla="*/ 319 w 377"/>
                <a:gd name="T25" fmla="*/ 376 h 379"/>
                <a:gd name="T26" fmla="*/ 299 w 377"/>
                <a:gd name="T27" fmla="*/ 379 h 379"/>
                <a:gd name="T28" fmla="*/ 279 w 377"/>
                <a:gd name="T29" fmla="*/ 376 h 379"/>
                <a:gd name="T30" fmla="*/ 260 w 377"/>
                <a:gd name="T31" fmla="*/ 370 h 379"/>
                <a:gd name="T32" fmla="*/ 244 w 377"/>
                <a:gd name="T33" fmla="*/ 356 h 379"/>
                <a:gd name="T34" fmla="*/ 23 w 377"/>
                <a:gd name="T35" fmla="*/ 134 h 379"/>
                <a:gd name="T36" fmla="*/ 9 w 377"/>
                <a:gd name="T37" fmla="*/ 118 h 379"/>
                <a:gd name="T38" fmla="*/ 3 w 377"/>
                <a:gd name="T39" fmla="*/ 99 h 379"/>
                <a:gd name="T40" fmla="*/ 0 w 377"/>
                <a:gd name="T41" fmla="*/ 79 h 379"/>
                <a:gd name="T42" fmla="*/ 3 w 377"/>
                <a:gd name="T43" fmla="*/ 59 h 379"/>
                <a:gd name="T44" fmla="*/ 9 w 377"/>
                <a:gd name="T45" fmla="*/ 40 h 379"/>
                <a:gd name="T46" fmla="*/ 23 w 377"/>
                <a:gd name="T47" fmla="*/ 22 h 379"/>
                <a:gd name="T48" fmla="*/ 40 w 377"/>
                <a:gd name="T49" fmla="*/ 10 h 379"/>
                <a:gd name="T50" fmla="*/ 59 w 377"/>
                <a:gd name="T51" fmla="*/ 2 h 379"/>
                <a:gd name="T52" fmla="*/ 77 w 377"/>
                <a:gd name="T53" fmla="*/ 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77" h="379">
                  <a:moveTo>
                    <a:pt x="77" y="0"/>
                  </a:moveTo>
                  <a:lnTo>
                    <a:pt x="97" y="2"/>
                  </a:lnTo>
                  <a:lnTo>
                    <a:pt x="116" y="10"/>
                  </a:lnTo>
                  <a:lnTo>
                    <a:pt x="133" y="22"/>
                  </a:lnTo>
                  <a:lnTo>
                    <a:pt x="355" y="245"/>
                  </a:lnTo>
                  <a:lnTo>
                    <a:pt x="367" y="262"/>
                  </a:lnTo>
                  <a:lnTo>
                    <a:pt x="375" y="281"/>
                  </a:lnTo>
                  <a:lnTo>
                    <a:pt x="377" y="301"/>
                  </a:lnTo>
                  <a:lnTo>
                    <a:pt x="375" y="320"/>
                  </a:lnTo>
                  <a:lnTo>
                    <a:pt x="367" y="339"/>
                  </a:lnTo>
                  <a:lnTo>
                    <a:pt x="355" y="356"/>
                  </a:lnTo>
                  <a:lnTo>
                    <a:pt x="337" y="370"/>
                  </a:lnTo>
                  <a:lnTo>
                    <a:pt x="319" y="376"/>
                  </a:lnTo>
                  <a:lnTo>
                    <a:pt x="299" y="379"/>
                  </a:lnTo>
                  <a:lnTo>
                    <a:pt x="279" y="376"/>
                  </a:lnTo>
                  <a:lnTo>
                    <a:pt x="260" y="370"/>
                  </a:lnTo>
                  <a:lnTo>
                    <a:pt x="244" y="356"/>
                  </a:lnTo>
                  <a:lnTo>
                    <a:pt x="23" y="134"/>
                  </a:lnTo>
                  <a:lnTo>
                    <a:pt x="9" y="118"/>
                  </a:lnTo>
                  <a:lnTo>
                    <a:pt x="3" y="99"/>
                  </a:lnTo>
                  <a:lnTo>
                    <a:pt x="0" y="79"/>
                  </a:lnTo>
                  <a:lnTo>
                    <a:pt x="3" y="59"/>
                  </a:lnTo>
                  <a:lnTo>
                    <a:pt x="9" y="40"/>
                  </a:lnTo>
                  <a:lnTo>
                    <a:pt x="23" y="22"/>
                  </a:lnTo>
                  <a:lnTo>
                    <a:pt x="40" y="10"/>
                  </a:lnTo>
                  <a:lnTo>
                    <a:pt x="59" y="2"/>
                  </a:lnTo>
                  <a:lnTo>
                    <a:pt x="7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08" name="Freeform 41"/>
            <p:cNvSpPr>
              <a:spLocks/>
            </p:cNvSpPr>
            <p:nvPr/>
          </p:nvSpPr>
          <p:spPr bwMode="auto">
            <a:xfrm>
              <a:off x="9223375" y="1363663"/>
              <a:ext cx="536575" cy="541338"/>
            </a:xfrm>
            <a:custGeom>
              <a:avLst/>
              <a:gdLst>
                <a:gd name="T0" fmla="*/ 937 w 1016"/>
                <a:gd name="T1" fmla="*/ 0 h 1023"/>
                <a:gd name="T2" fmla="*/ 963 w 1016"/>
                <a:gd name="T3" fmla="*/ 4 h 1023"/>
                <a:gd name="T4" fmla="*/ 984 w 1016"/>
                <a:gd name="T5" fmla="*/ 16 h 1023"/>
                <a:gd name="T6" fmla="*/ 1000 w 1016"/>
                <a:gd name="T7" fmla="*/ 32 h 1023"/>
                <a:gd name="T8" fmla="*/ 1012 w 1016"/>
                <a:gd name="T9" fmla="*/ 54 h 1023"/>
                <a:gd name="T10" fmla="*/ 1016 w 1016"/>
                <a:gd name="T11" fmla="*/ 79 h 1023"/>
                <a:gd name="T12" fmla="*/ 1012 w 1016"/>
                <a:gd name="T13" fmla="*/ 103 h 1023"/>
                <a:gd name="T14" fmla="*/ 1000 w 1016"/>
                <a:gd name="T15" fmla="*/ 126 h 1023"/>
                <a:gd name="T16" fmla="*/ 984 w 1016"/>
                <a:gd name="T17" fmla="*/ 142 h 1023"/>
                <a:gd name="T18" fmla="*/ 963 w 1016"/>
                <a:gd name="T19" fmla="*/ 154 h 1023"/>
                <a:gd name="T20" fmla="*/ 937 w 1016"/>
                <a:gd name="T21" fmla="*/ 158 h 1023"/>
                <a:gd name="T22" fmla="*/ 858 w 1016"/>
                <a:gd name="T23" fmla="*/ 162 h 1023"/>
                <a:gd name="T24" fmla="*/ 781 w 1016"/>
                <a:gd name="T25" fmla="*/ 174 h 1023"/>
                <a:gd name="T26" fmla="*/ 706 w 1016"/>
                <a:gd name="T27" fmla="*/ 193 h 1023"/>
                <a:gd name="T28" fmla="*/ 634 w 1016"/>
                <a:gd name="T29" fmla="*/ 220 h 1023"/>
                <a:gd name="T30" fmla="*/ 566 w 1016"/>
                <a:gd name="T31" fmla="*/ 253 h 1023"/>
                <a:gd name="T32" fmla="*/ 501 w 1016"/>
                <a:gd name="T33" fmla="*/ 292 h 1023"/>
                <a:gd name="T34" fmla="*/ 441 w 1016"/>
                <a:gd name="T35" fmla="*/ 338 h 1023"/>
                <a:gd name="T36" fmla="*/ 385 w 1016"/>
                <a:gd name="T37" fmla="*/ 389 h 1023"/>
                <a:gd name="T38" fmla="*/ 334 w 1016"/>
                <a:gd name="T39" fmla="*/ 444 h 1023"/>
                <a:gd name="T40" fmla="*/ 290 w 1016"/>
                <a:gd name="T41" fmla="*/ 505 h 1023"/>
                <a:gd name="T42" fmla="*/ 250 w 1016"/>
                <a:gd name="T43" fmla="*/ 570 h 1023"/>
                <a:gd name="T44" fmla="*/ 218 w 1016"/>
                <a:gd name="T45" fmla="*/ 638 h 1023"/>
                <a:gd name="T46" fmla="*/ 191 w 1016"/>
                <a:gd name="T47" fmla="*/ 711 h 1023"/>
                <a:gd name="T48" fmla="*/ 171 w 1016"/>
                <a:gd name="T49" fmla="*/ 786 h 1023"/>
                <a:gd name="T50" fmla="*/ 159 w 1016"/>
                <a:gd name="T51" fmla="*/ 863 h 1023"/>
                <a:gd name="T52" fmla="*/ 156 w 1016"/>
                <a:gd name="T53" fmla="*/ 944 h 1023"/>
                <a:gd name="T54" fmla="*/ 152 w 1016"/>
                <a:gd name="T55" fmla="*/ 969 h 1023"/>
                <a:gd name="T56" fmla="*/ 141 w 1016"/>
                <a:gd name="T57" fmla="*/ 991 h 1023"/>
                <a:gd name="T58" fmla="*/ 124 w 1016"/>
                <a:gd name="T59" fmla="*/ 1008 h 1023"/>
                <a:gd name="T60" fmla="*/ 102 w 1016"/>
                <a:gd name="T61" fmla="*/ 1019 h 1023"/>
                <a:gd name="T62" fmla="*/ 78 w 1016"/>
                <a:gd name="T63" fmla="*/ 1023 h 1023"/>
                <a:gd name="T64" fmla="*/ 53 w 1016"/>
                <a:gd name="T65" fmla="*/ 1019 h 1023"/>
                <a:gd name="T66" fmla="*/ 32 w 1016"/>
                <a:gd name="T67" fmla="*/ 1008 h 1023"/>
                <a:gd name="T68" fmla="*/ 14 w 1016"/>
                <a:gd name="T69" fmla="*/ 991 h 1023"/>
                <a:gd name="T70" fmla="*/ 4 w 1016"/>
                <a:gd name="T71" fmla="*/ 969 h 1023"/>
                <a:gd name="T72" fmla="*/ 0 w 1016"/>
                <a:gd name="T73" fmla="*/ 944 h 1023"/>
                <a:gd name="T74" fmla="*/ 4 w 1016"/>
                <a:gd name="T75" fmla="*/ 858 h 1023"/>
                <a:gd name="T76" fmla="*/ 14 w 1016"/>
                <a:gd name="T77" fmla="*/ 775 h 1023"/>
                <a:gd name="T78" fmla="*/ 33 w 1016"/>
                <a:gd name="T79" fmla="*/ 693 h 1023"/>
                <a:gd name="T80" fmla="*/ 58 w 1016"/>
                <a:gd name="T81" fmla="*/ 615 h 1023"/>
                <a:gd name="T82" fmla="*/ 90 w 1016"/>
                <a:gd name="T83" fmla="*/ 540 h 1023"/>
                <a:gd name="T84" fmla="*/ 128 w 1016"/>
                <a:gd name="T85" fmla="*/ 468 h 1023"/>
                <a:gd name="T86" fmla="*/ 171 w 1016"/>
                <a:gd name="T87" fmla="*/ 401 h 1023"/>
                <a:gd name="T88" fmla="*/ 221 w 1016"/>
                <a:gd name="T89" fmla="*/ 336 h 1023"/>
                <a:gd name="T90" fmla="*/ 274 w 1016"/>
                <a:gd name="T91" fmla="*/ 277 h 1023"/>
                <a:gd name="T92" fmla="*/ 334 w 1016"/>
                <a:gd name="T93" fmla="*/ 222 h 1023"/>
                <a:gd name="T94" fmla="*/ 397 w 1016"/>
                <a:gd name="T95" fmla="*/ 173 h 1023"/>
                <a:gd name="T96" fmla="*/ 465 w 1016"/>
                <a:gd name="T97" fmla="*/ 129 h 1023"/>
                <a:gd name="T98" fmla="*/ 535 w 1016"/>
                <a:gd name="T99" fmla="*/ 91 h 1023"/>
                <a:gd name="T100" fmla="*/ 611 w 1016"/>
                <a:gd name="T101" fmla="*/ 59 h 1023"/>
                <a:gd name="T102" fmla="*/ 689 w 1016"/>
                <a:gd name="T103" fmla="*/ 33 h 1023"/>
                <a:gd name="T104" fmla="*/ 770 w 1016"/>
                <a:gd name="T105" fmla="*/ 16 h 1023"/>
                <a:gd name="T106" fmla="*/ 853 w 1016"/>
                <a:gd name="T107" fmla="*/ 4 h 1023"/>
                <a:gd name="T108" fmla="*/ 937 w 1016"/>
                <a:gd name="T109" fmla="*/ 0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16" h="1023">
                  <a:moveTo>
                    <a:pt x="937" y="0"/>
                  </a:moveTo>
                  <a:lnTo>
                    <a:pt x="963" y="4"/>
                  </a:lnTo>
                  <a:lnTo>
                    <a:pt x="984" y="16"/>
                  </a:lnTo>
                  <a:lnTo>
                    <a:pt x="1000" y="32"/>
                  </a:lnTo>
                  <a:lnTo>
                    <a:pt x="1012" y="54"/>
                  </a:lnTo>
                  <a:lnTo>
                    <a:pt x="1016" y="79"/>
                  </a:lnTo>
                  <a:lnTo>
                    <a:pt x="1012" y="103"/>
                  </a:lnTo>
                  <a:lnTo>
                    <a:pt x="1000" y="126"/>
                  </a:lnTo>
                  <a:lnTo>
                    <a:pt x="984" y="142"/>
                  </a:lnTo>
                  <a:lnTo>
                    <a:pt x="963" y="154"/>
                  </a:lnTo>
                  <a:lnTo>
                    <a:pt x="937" y="158"/>
                  </a:lnTo>
                  <a:lnTo>
                    <a:pt x="858" y="162"/>
                  </a:lnTo>
                  <a:lnTo>
                    <a:pt x="781" y="174"/>
                  </a:lnTo>
                  <a:lnTo>
                    <a:pt x="706" y="193"/>
                  </a:lnTo>
                  <a:lnTo>
                    <a:pt x="634" y="220"/>
                  </a:lnTo>
                  <a:lnTo>
                    <a:pt x="566" y="253"/>
                  </a:lnTo>
                  <a:lnTo>
                    <a:pt x="501" y="292"/>
                  </a:lnTo>
                  <a:lnTo>
                    <a:pt x="441" y="338"/>
                  </a:lnTo>
                  <a:lnTo>
                    <a:pt x="385" y="389"/>
                  </a:lnTo>
                  <a:lnTo>
                    <a:pt x="334" y="444"/>
                  </a:lnTo>
                  <a:lnTo>
                    <a:pt x="290" y="505"/>
                  </a:lnTo>
                  <a:lnTo>
                    <a:pt x="250" y="570"/>
                  </a:lnTo>
                  <a:lnTo>
                    <a:pt x="218" y="638"/>
                  </a:lnTo>
                  <a:lnTo>
                    <a:pt x="191" y="711"/>
                  </a:lnTo>
                  <a:lnTo>
                    <a:pt x="171" y="786"/>
                  </a:lnTo>
                  <a:lnTo>
                    <a:pt x="159" y="863"/>
                  </a:lnTo>
                  <a:lnTo>
                    <a:pt x="156" y="944"/>
                  </a:lnTo>
                  <a:lnTo>
                    <a:pt x="152" y="969"/>
                  </a:lnTo>
                  <a:lnTo>
                    <a:pt x="141" y="991"/>
                  </a:lnTo>
                  <a:lnTo>
                    <a:pt x="124" y="1008"/>
                  </a:lnTo>
                  <a:lnTo>
                    <a:pt x="102" y="1019"/>
                  </a:lnTo>
                  <a:lnTo>
                    <a:pt x="78" y="1023"/>
                  </a:lnTo>
                  <a:lnTo>
                    <a:pt x="53" y="1019"/>
                  </a:lnTo>
                  <a:lnTo>
                    <a:pt x="32" y="1008"/>
                  </a:lnTo>
                  <a:lnTo>
                    <a:pt x="14" y="991"/>
                  </a:lnTo>
                  <a:lnTo>
                    <a:pt x="4" y="969"/>
                  </a:lnTo>
                  <a:lnTo>
                    <a:pt x="0" y="944"/>
                  </a:lnTo>
                  <a:lnTo>
                    <a:pt x="4" y="858"/>
                  </a:lnTo>
                  <a:lnTo>
                    <a:pt x="14" y="775"/>
                  </a:lnTo>
                  <a:lnTo>
                    <a:pt x="33" y="693"/>
                  </a:lnTo>
                  <a:lnTo>
                    <a:pt x="58" y="615"/>
                  </a:lnTo>
                  <a:lnTo>
                    <a:pt x="90" y="540"/>
                  </a:lnTo>
                  <a:lnTo>
                    <a:pt x="128" y="468"/>
                  </a:lnTo>
                  <a:lnTo>
                    <a:pt x="171" y="401"/>
                  </a:lnTo>
                  <a:lnTo>
                    <a:pt x="221" y="336"/>
                  </a:lnTo>
                  <a:lnTo>
                    <a:pt x="274" y="277"/>
                  </a:lnTo>
                  <a:lnTo>
                    <a:pt x="334" y="222"/>
                  </a:lnTo>
                  <a:lnTo>
                    <a:pt x="397" y="173"/>
                  </a:lnTo>
                  <a:lnTo>
                    <a:pt x="465" y="129"/>
                  </a:lnTo>
                  <a:lnTo>
                    <a:pt x="535" y="91"/>
                  </a:lnTo>
                  <a:lnTo>
                    <a:pt x="611" y="59"/>
                  </a:lnTo>
                  <a:lnTo>
                    <a:pt x="689" y="33"/>
                  </a:lnTo>
                  <a:lnTo>
                    <a:pt x="770" y="16"/>
                  </a:lnTo>
                  <a:lnTo>
                    <a:pt x="853" y="4"/>
                  </a:lnTo>
                  <a:lnTo>
                    <a:pt x="9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09" name="Group 70"/>
          <p:cNvGrpSpPr/>
          <p:nvPr/>
        </p:nvGrpSpPr>
        <p:grpSpPr>
          <a:xfrm>
            <a:off x="6547817" y="2612661"/>
            <a:ext cx="245299" cy="243892"/>
            <a:chOff x="1457325" y="4457700"/>
            <a:chExt cx="2212975" cy="2200275"/>
          </a:xfrm>
          <a:solidFill>
            <a:sysClr val="window" lastClr="FFFFFF"/>
          </a:solidFill>
        </p:grpSpPr>
        <p:sp>
          <p:nvSpPr>
            <p:cNvPr id="210" name="Freeform 46"/>
            <p:cNvSpPr>
              <a:spLocks noEditPoints="1"/>
            </p:cNvSpPr>
            <p:nvPr/>
          </p:nvSpPr>
          <p:spPr bwMode="auto">
            <a:xfrm>
              <a:off x="1457325" y="4457700"/>
              <a:ext cx="2212975" cy="2200275"/>
            </a:xfrm>
            <a:custGeom>
              <a:avLst/>
              <a:gdLst>
                <a:gd name="T0" fmla="*/ 1777 w 4183"/>
                <a:gd name="T1" fmla="*/ 649 h 4159"/>
                <a:gd name="T2" fmla="*/ 1549 w 4183"/>
                <a:gd name="T3" fmla="*/ 898 h 4159"/>
                <a:gd name="T4" fmla="*/ 984 w 4183"/>
                <a:gd name="T5" fmla="*/ 543 h 4159"/>
                <a:gd name="T6" fmla="*/ 528 w 4183"/>
                <a:gd name="T7" fmla="*/ 926 h 4159"/>
                <a:gd name="T8" fmla="*/ 907 w 4183"/>
                <a:gd name="T9" fmla="*/ 1409 h 4159"/>
                <a:gd name="T10" fmla="*/ 776 w 4183"/>
                <a:gd name="T11" fmla="*/ 1721 h 4159"/>
                <a:gd name="T12" fmla="*/ 166 w 4183"/>
                <a:gd name="T13" fmla="*/ 1796 h 4159"/>
                <a:gd name="T14" fmla="*/ 215 w 4183"/>
                <a:gd name="T15" fmla="*/ 2387 h 4159"/>
                <a:gd name="T16" fmla="*/ 868 w 4183"/>
                <a:gd name="T17" fmla="*/ 2534 h 4159"/>
                <a:gd name="T18" fmla="*/ 853 w 4183"/>
                <a:gd name="T19" fmla="*/ 2870 h 4159"/>
                <a:gd name="T20" fmla="*/ 898 w 4183"/>
                <a:gd name="T21" fmla="*/ 3616 h 4159"/>
                <a:gd name="T22" fmla="*/ 1324 w 4183"/>
                <a:gd name="T23" fmla="*/ 3291 h 4159"/>
                <a:gd name="T24" fmla="*/ 1635 w 4183"/>
                <a:gd name="T25" fmla="*/ 3295 h 4159"/>
                <a:gd name="T26" fmla="*/ 1781 w 4183"/>
                <a:gd name="T27" fmla="*/ 3945 h 4159"/>
                <a:gd name="T28" fmla="*/ 2377 w 4183"/>
                <a:gd name="T29" fmla="*/ 3994 h 4159"/>
                <a:gd name="T30" fmla="*/ 2452 w 4183"/>
                <a:gd name="T31" fmla="*/ 3386 h 4159"/>
                <a:gd name="T32" fmla="*/ 2766 w 4183"/>
                <a:gd name="T33" fmla="*/ 3257 h 4159"/>
                <a:gd name="T34" fmla="*/ 3251 w 4183"/>
                <a:gd name="T35" fmla="*/ 3633 h 4159"/>
                <a:gd name="T36" fmla="*/ 3637 w 4183"/>
                <a:gd name="T37" fmla="*/ 3181 h 4159"/>
                <a:gd name="T38" fmla="*/ 3280 w 4183"/>
                <a:gd name="T39" fmla="*/ 2618 h 4159"/>
                <a:gd name="T40" fmla="*/ 3530 w 4183"/>
                <a:gd name="T41" fmla="*/ 2391 h 4159"/>
                <a:gd name="T42" fmla="*/ 4028 w 4183"/>
                <a:gd name="T43" fmla="*/ 1832 h 4159"/>
                <a:gd name="T44" fmla="*/ 3486 w 4183"/>
                <a:gd name="T45" fmla="*/ 1758 h 4159"/>
                <a:gd name="T46" fmla="*/ 3272 w 4183"/>
                <a:gd name="T47" fmla="*/ 1496 h 4159"/>
                <a:gd name="T48" fmla="*/ 3649 w 4183"/>
                <a:gd name="T49" fmla="*/ 963 h 4159"/>
                <a:gd name="T50" fmla="*/ 3233 w 4183"/>
                <a:gd name="T51" fmla="*/ 526 h 4159"/>
                <a:gd name="T52" fmla="*/ 2723 w 4183"/>
                <a:gd name="T53" fmla="*/ 908 h 4159"/>
                <a:gd name="T54" fmla="*/ 2430 w 4183"/>
                <a:gd name="T55" fmla="*/ 734 h 4159"/>
                <a:gd name="T56" fmla="*/ 2360 w 4183"/>
                <a:gd name="T57" fmla="*/ 157 h 4159"/>
                <a:gd name="T58" fmla="*/ 2480 w 4183"/>
                <a:gd name="T59" fmla="*/ 50 h 4159"/>
                <a:gd name="T60" fmla="*/ 2567 w 4183"/>
                <a:gd name="T61" fmla="*/ 661 h 4159"/>
                <a:gd name="T62" fmla="*/ 2764 w 4183"/>
                <a:gd name="T63" fmla="*/ 742 h 4159"/>
                <a:gd name="T64" fmla="*/ 3260 w 4183"/>
                <a:gd name="T65" fmla="*/ 373 h 4159"/>
                <a:gd name="T66" fmla="*/ 3799 w 4183"/>
                <a:gd name="T67" fmla="*/ 869 h 4159"/>
                <a:gd name="T68" fmla="*/ 3470 w 4183"/>
                <a:gd name="T69" fmla="*/ 1362 h 4159"/>
                <a:gd name="T70" fmla="*/ 3470 w 4183"/>
                <a:gd name="T71" fmla="*/ 1574 h 4159"/>
                <a:gd name="T72" fmla="*/ 4076 w 4183"/>
                <a:gd name="T73" fmla="*/ 1647 h 4159"/>
                <a:gd name="T74" fmla="*/ 4179 w 4183"/>
                <a:gd name="T75" fmla="*/ 2366 h 4159"/>
                <a:gd name="T76" fmla="*/ 3968 w 4183"/>
                <a:gd name="T77" fmla="*/ 2542 h 4159"/>
                <a:gd name="T78" fmla="*/ 3428 w 4183"/>
                <a:gd name="T79" fmla="*/ 2663 h 4159"/>
                <a:gd name="T80" fmla="*/ 3786 w 4183"/>
                <a:gd name="T81" fmla="*/ 3126 h 4159"/>
                <a:gd name="T82" fmla="*/ 3746 w 4183"/>
                <a:gd name="T83" fmla="*/ 3374 h 4159"/>
                <a:gd name="T84" fmla="*/ 3151 w 4183"/>
                <a:gd name="T85" fmla="*/ 3767 h 4159"/>
                <a:gd name="T86" fmla="*/ 2678 w 4183"/>
                <a:gd name="T87" fmla="*/ 3408 h 4159"/>
                <a:gd name="T88" fmla="*/ 2557 w 4183"/>
                <a:gd name="T89" fmla="*/ 3945 h 4159"/>
                <a:gd name="T90" fmla="*/ 2380 w 4183"/>
                <a:gd name="T91" fmla="*/ 4155 h 4159"/>
                <a:gd name="T92" fmla="*/ 1656 w 4183"/>
                <a:gd name="T93" fmla="*/ 4053 h 4159"/>
                <a:gd name="T94" fmla="*/ 1583 w 4183"/>
                <a:gd name="T95" fmla="*/ 3450 h 4159"/>
                <a:gd name="T96" fmla="*/ 1369 w 4183"/>
                <a:gd name="T97" fmla="*/ 3450 h 4159"/>
                <a:gd name="T98" fmla="*/ 850 w 4183"/>
                <a:gd name="T99" fmla="*/ 3767 h 4159"/>
                <a:gd name="T100" fmla="*/ 372 w 4183"/>
                <a:gd name="T101" fmla="*/ 3223 h 4159"/>
                <a:gd name="T102" fmla="*/ 746 w 4183"/>
                <a:gd name="T103" fmla="*/ 2748 h 4159"/>
                <a:gd name="T104" fmla="*/ 664 w 4183"/>
                <a:gd name="T105" fmla="*/ 2552 h 4159"/>
                <a:gd name="T106" fmla="*/ 50 w 4183"/>
                <a:gd name="T107" fmla="*/ 2466 h 4159"/>
                <a:gd name="T108" fmla="*/ 29 w 4183"/>
                <a:gd name="T109" fmla="*/ 1723 h 4159"/>
                <a:gd name="T110" fmla="*/ 636 w 4183"/>
                <a:gd name="T111" fmla="*/ 1615 h 4159"/>
                <a:gd name="T112" fmla="*/ 754 w 4183"/>
                <a:gd name="T113" fmla="*/ 1439 h 4159"/>
                <a:gd name="T114" fmla="*/ 375 w 4183"/>
                <a:gd name="T115" fmla="*/ 969 h 4159"/>
                <a:gd name="T116" fmla="*/ 817 w 4183"/>
                <a:gd name="T117" fmla="*/ 410 h 4159"/>
                <a:gd name="T118" fmla="*/ 1093 w 4183"/>
                <a:gd name="T119" fmla="*/ 434 h 4159"/>
                <a:gd name="T120" fmla="*/ 1561 w 4183"/>
                <a:gd name="T121" fmla="*/ 726 h 4159"/>
                <a:gd name="T122" fmla="*/ 1640 w 4183"/>
                <a:gd name="T123" fmla="*/ 140 h 4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183" h="4159">
                  <a:moveTo>
                    <a:pt x="1842" y="154"/>
                  </a:moveTo>
                  <a:lnTo>
                    <a:pt x="1822" y="157"/>
                  </a:lnTo>
                  <a:lnTo>
                    <a:pt x="1806" y="166"/>
                  </a:lnTo>
                  <a:lnTo>
                    <a:pt x="1793" y="179"/>
                  </a:lnTo>
                  <a:lnTo>
                    <a:pt x="1784" y="195"/>
                  </a:lnTo>
                  <a:lnTo>
                    <a:pt x="1781" y="214"/>
                  </a:lnTo>
                  <a:lnTo>
                    <a:pt x="1781" y="603"/>
                  </a:lnTo>
                  <a:lnTo>
                    <a:pt x="1777" y="649"/>
                  </a:lnTo>
                  <a:lnTo>
                    <a:pt x="1768" y="694"/>
                  </a:lnTo>
                  <a:lnTo>
                    <a:pt x="1752" y="734"/>
                  </a:lnTo>
                  <a:lnTo>
                    <a:pt x="1731" y="772"/>
                  </a:lnTo>
                  <a:lnTo>
                    <a:pt x="1703" y="806"/>
                  </a:lnTo>
                  <a:lnTo>
                    <a:pt x="1672" y="837"/>
                  </a:lnTo>
                  <a:lnTo>
                    <a:pt x="1635" y="863"/>
                  </a:lnTo>
                  <a:lnTo>
                    <a:pt x="1593" y="884"/>
                  </a:lnTo>
                  <a:lnTo>
                    <a:pt x="1549" y="898"/>
                  </a:lnTo>
                  <a:lnTo>
                    <a:pt x="1504" y="906"/>
                  </a:lnTo>
                  <a:lnTo>
                    <a:pt x="1460" y="908"/>
                  </a:lnTo>
                  <a:lnTo>
                    <a:pt x="1417" y="901"/>
                  </a:lnTo>
                  <a:lnTo>
                    <a:pt x="1375" y="890"/>
                  </a:lnTo>
                  <a:lnTo>
                    <a:pt x="1334" y="872"/>
                  </a:lnTo>
                  <a:lnTo>
                    <a:pt x="1295" y="847"/>
                  </a:lnTo>
                  <a:lnTo>
                    <a:pt x="1260" y="817"/>
                  </a:lnTo>
                  <a:lnTo>
                    <a:pt x="984" y="543"/>
                  </a:lnTo>
                  <a:lnTo>
                    <a:pt x="968" y="532"/>
                  </a:lnTo>
                  <a:lnTo>
                    <a:pt x="951" y="526"/>
                  </a:lnTo>
                  <a:lnTo>
                    <a:pt x="931" y="526"/>
                  </a:lnTo>
                  <a:lnTo>
                    <a:pt x="914" y="532"/>
                  </a:lnTo>
                  <a:lnTo>
                    <a:pt x="898" y="543"/>
                  </a:lnTo>
                  <a:lnTo>
                    <a:pt x="545" y="893"/>
                  </a:lnTo>
                  <a:lnTo>
                    <a:pt x="535" y="909"/>
                  </a:lnTo>
                  <a:lnTo>
                    <a:pt x="528" y="926"/>
                  </a:lnTo>
                  <a:lnTo>
                    <a:pt x="528" y="946"/>
                  </a:lnTo>
                  <a:lnTo>
                    <a:pt x="535" y="963"/>
                  </a:lnTo>
                  <a:lnTo>
                    <a:pt x="545" y="978"/>
                  </a:lnTo>
                  <a:lnTo>
                    <a:pt x="823" y="1253"/>
                  </a:lnTo>
                  <a:lnTo>
                    <a:pt x="853" y="1288"/>
                  </a:lnTo>
                  <a:lnTo>
                    <a:pt x="877" y="1326"/>
                  </a:lnTo>
                  <a:lnTo>
                    <a:pt x="895" y="1366"/>
                  </a:lnTo>
                  <a:lnTo>
                    <a:pt x="907" y="1409"/>
                  </a:lnTo>
                  <a:lnTo>
                    <a:pt x="912" y="1452"/>
                  </a:lnTo>
                  <a:lnTo>
                    <a:pt x="911" y="1496"/>
                  </a:lnTo>
                  <a:lnTo>
                    <a:pt x="903" y="1540"/>
                  </a:lnTo>
                  <a:lnTo>
                    <a:pt x="889" y="1584"/>
                  </a:lnTo>
                  <a:lnTo>
                    <a:pt x="868" y="1626"/>
                  </a:lnTo>
                  <a:lnTo>
                    <a:pt x="841" y="1662"/>
                  </a:lnTo>
                  <a:lnTo>
                    <a:pt x="811" y="1694"/>
                  </a:lnTo>
                  <a:lnTo>
                    <a:pt x="776" y="1721"/>
                  </a:lnTo>
                  <a:lnTo>
                    <a:pt x="738" y="1742"/>
                  </a:lnTo>
                  <a:lnTo>
                    <a:pt x="697" y="1758"/>
                  </a:lnTo>
                  <a:lnTo>
                    <a:pt x="652" y="1767"/>
                  </a:lnTo>
                  <a:lnTo>
                    <a:pt x="606" y="1771"/>
                  </a:lnTo>
                  <a:lnTo>
                    <a:pt x="215" y="1771"/>
                  </a:lnTo>
                  <a:lnTo>
                    <a:pt x="195" y="1774"/>
                  </a:lnTo>
                  <a:lnTo>
                    <a:pt x="180" y="1783"/>
                  </a:lnTo>
                  <a:lnTo>
                    <a:pt x="166" y="1796"/>
                  </a:lnTo>
                  <a:lnTo>
                    <a:pt x="157" y="1812"/>
                  </a:lnTo>
                  <a:lnTo>
                    <a:pt x="155" y="1832"/>
                  </a:lnTo>
                  <a:lnTo>
                    <a:pt x="155" y="2328"/>
                  </a:lnTo>
                  <a:lnTo>
                    <a:pt x="157" y="2346"/>
                  </a:lnTo>
                  <a:lnTo>
                    <a:pt x="166" y="2363"/>
                  </a:lnTo>
                  <a:lnTo>
                    <a:pt x="180" y="2376"/>
                  </a:lnTo>
                  <a:lnTo>
                    <a:pt x="195" y="2384"/>
                  </a:lnTo>
                  <a:lnTo>
                    <a:pt x="215" y="2387"/>
                  </a:lnTo>
                  <a:lnTo>
                    <a:pt x="606" y="2387"/>
                  </a:lnTo>
                  <a:lnTo>
                    <a:pt x="652" y="2391"/>
                  </a:lnTo>
                  <a:lnTo>
                    <a:pt x="697" y="2400"/>
                  </a:lnTo>
                  <a:lnTo>
                    <a:pt x="738" y="2416"/>
                  </a:lnTo>
                  <a:lnTo>
                    <a:pt x="776" y="2438"/>
                  </a:lnTo>
                  <a:lnTo>
                    <a:pt x="811" y="2464"/>
                  </a:lnTo>
                  <a:lnTo>
                    <a:pt x="841" y="2497"/>
                  </a:lnTo>
                  <a:lnTo>
                    <a:pt x="868" y="2534"/>
                  </a:lnTo>
                  <a:lnTo>
                    <a:pt x="889" y="2575"/>
                  </a:lnTo>
                  <a:lnTo>
                    <a:pt x="903" y="2618"/>
                  </a:lnTo>
                  <a:lnTo>
                    <a:pt x="911" y="2663"/>
                  </a:lnTo>
                  <a:lnTo>
                    <a:pt x="912" y="2707"/>
                  </a:lnTo>
                  <a:lnTo>
                    <a:pt x="907" y="2751"/>
                  </a:lnTo>
                  <a:lnTo>
                    <a:pt x="895" y="2793"/>
                  </a:lnTo>
                  <a:lnTo>
                    <a:pt x="877" y="2832"/>
                  </a:lnTo>
                  <a:lnTo>
                    <a:pt x="853" y="2870"/>
                  </a:lnTo>
                  <a:lnTo>
                    <a:pt x="823" y="2906"/>
                  </a:lnTo>
                  <a:lnTo>
                    <a:pt x="545" y="3180"/>
                  </a:lnTo>
                  <a:lnTo>
                    <a:pt x="535" y="3196"/>
                  </a:lnTo>
                  <a:lnTo>
                    <a:pt x="528" y="3214"/>
                  </a:lnTo>
                  <a:lnTo>
                    <a:pt x="528" y="3232"/>
                  </a:lnTo>
                  <a:lnTo>
                    <a:pt x="535" y="3249"/>
                  </a:lnTo>
                  <a:lnTo>
                    <a:pt x="545" y="3265"/>
                  </a:lnTo>
                  <a:lnTo>
                    <a:pt x="898" y="3616"/>
                  </a:lnTo>
                  <a:lnTo>
                    <a:pt x="914" y="3628"/>
                  </a:lnTo>
                  <a:lnTo>
                    <a:pt x="931" y="3633"/>
                  </a:lnTo>
                  <a:lnTo>
                    <a:pt x="951" y="3633"/>
                  </a:lnTo>
                  <a:lnTo>
                    <a:pt x="968" y="3628"/>
                  </a:lnTo>
                  <a:lnTo>
                    <a:pt x="984" y="3616"/>
                  </a:lnTo>
                  <a:lnTo>
                    <a:pt x="1260" y="3341"/>
                  </a:lnTo>
                  <a:lnTo>
                    <a:pt x="1291" y="3314"/>
                  </a:lnTo>
                  <a:lnTo>
                    <a:pt x="1324" y="3291"/>
                  </a:lnTo>
                  <a:lnTo>
                    <a:pt x="1360" y="3274"/>
                  </a:lnTo>
                  <a:lnTo>
                    <a:pt x="1397" y="3261"/>
                  </a:lnTo>
                  <a:lnTo>
                    <a:pt x="1435" y="3253"/>
                  </a:lnTo>
                  <a:lnTo>
                    <a:pt x="1474" y="3251"/>
                  </a:lnTo>
                  <a:lnTo>
                    <a:pt x="1513" y="3253"/>
                  </a:lnTo>
                  <a:lnTo>
                    <a:pt x="1553" y="3261"/>
                  </a:lnTo>
                  <a:lnTo>
                    <a:pt x="1593" y="3276"/>
                  </a:lnTo>
                  <a:lnTo>
                    <a:pt x="1635" y="3295"/>
                  </a:lnTo>
                  <a:lnTo>
                    <a:pt x="1672" y="3322"/>
                  </a:lnTo>
                  <a:lnTo>
                    <a:pt x="1703" y="3352"/>
                  </a:lnTo>
                  <a:lnTo>
                    <a:pt x="1731" y="3386"/>
                  </a:lnTo>
                  <a:lnTo>
                    <a:pt x="1752" y="3424"/>
                  </a:lnTo>
                  <a:lnTo>
                    <a:pt x="1768" y="3466"/>
                  </a:lnTo>
                  <a:lnTo>
                    <a:pt x="1777" y="3509"/>
                  </a:lnTo>
                  <a:lnTo>
                    <a:pt x="1781" y="3555"/>
                  </a:lnTo>
                  <a:lnTo>
                    <a:pt x="1781" y="3945"/>
                  </a:lnTo>
                  <a:lnTo>
                    <a:pt x="1784" y="3964"/>
                  </a:lnTo>
                  <a:lnTo>
                    <a:pt x="1793" y="3981"/>
                  </a:lnTo>
                  <a:lnTo>
                    <a:pt x="1806" y="3994"/>
                  </a:lnTo>
                  <a:lnTo>
                    <a:pt x="1822" y="4002"/>
                  </a:lnTo>
                  <a:lnTo>
                    <a:pt x="1842" y="4004"/>
                  </a:lnTo>
                  <a:lnTo>
                    <a:pt x="2341" y="4004"/>
                  </a:lnTo>
                  <a:lnTo>
                    <a:pt x="2360" y="4002"/>
                  </a:lnTo>
                  <a:lnTo>
                    <a:pt x="2377" y="3994"/>
                  </a:lnTo>
                  <a:lnTo>
                    <a:pt x="2390" y="3981"/>
                  </a:lnTo>
                  <a:lnTo>
                    <a:pt x="2398" y="3964"/>
                  </a:lnTo>
                  <a:lnTo>
                    <a:pt x="2401" y="3945"/>
                  </a:lnTo>
                  <a:lnTo>
                    <a:pt x="2401" y="3555"/>
                  </a:lnTo>
                  <a:lnTo>
                    <a:pt x="2405" y="3509"/>
                  </a:lnTo>
                  <a:lnTo>
                    <a:pt x="2414" y="3466"/>
                  </a:lnTo>
                  <a:lnTo>
                    <a:pt x="2430" y="3424"/>
                  </a:lnTo>
                  <a:lnTo>
                    <a:pt x="2452" y="3386"/>
                  </a:lnTo>
                  <a:lnTo>
                    <a:pt x="2479" y="3352"/>
                  </a:lnTo>
                  <a:lnTo>
                    <a:pt x="2512" y="3322"/>
                  </a:lnTo>
                  <a:lnTo>
                    <a:pt x="2549" y="3295"/>
                  </a:lnTo>
                  <a:lnTo>
                    <a:pt x="2590" y="3276"/>
                  </a:lnTo>
                  <a:lnTo>
                    <a:pt x="2633" y="3261"/>
                  </a:lnTo>
                  <a:lnTo>
                    <a:pt x="2678" y="3253"/>
                  </a:lnTo>
                  <a:lnTo>
                    <a:pt x="2723" y="3252"/>
                  </a:lnTo>
                  <a:lnTo>
                    <a:pt x="2766" y="3257"/>
                  </a:lnTo>
                  <a:lnTo>
                    <a:pt x="2809" y="3269"/>
                  </a:lnTo>
                  <a:lnTo>
                    <a:pt x="2848" y="3286"/>
                  </a:lnTo>
                  <a:lnTo>
                    <a:pt x="2887" y="3311"/>
                  </a:lnTo>
                  <a:lnTo>
                    <a:pt x="2922" y="3341"/>
                  </a:lnTo>
                  <a:lnTo>
                    <a:pt x="3200" y="3616"/>
                  </a:lnTo>
                  <a:lnTo>
                    <a:pt x="3214" y="3628"/>
                  </a:lnTo>
                  <a:lnTo>
                    <a:pt x="3233" y="3633"/>
                  </a:lnTo>
                  <a:lnTo>
                    <a:pt x="3251" y="3633"/>
                  </a:lnTo>
                  <a:lnTo>
                    <a:pt x="3268" y="3628"/>
                  </a:lnTo>
                  <a:lnTo>
                    <a:pt x="3284" y="3616"/>
                  </a:lnTo>
                  <a:lnTo>
                    <a:pt x="3637" y="3265"/>
                  </a:lnTo>
                  <a:lnTo>
                    <a:pt x="3649" y="3249"/>
                  </a:lnTo>
                  <a:lnTo>
                    <a:pt x="3654" y="3232"/>
                  </a:lnTo>
                  <a:lnTo>
                    <a:pt x="3654" y="3214"/>
                  </a:lnTo>
                  <a:lnTo>
                    <a:pt x="3649" y="3196"/>
                  </a:lnTo>
                  <a:lnTo>
                    <a:pt x="3637" y="3181"/>
                  </a:lnTo>
                  <a:lnTo>
                    <a:pt x="3361" y="2906"/>
                  </a:lnTo>
                  <a:lnTo>
                    <a:pt x="3330" y="2870"/>
                  </a:lnTo>
                  <a:lnTo>
                    <a:pt x="3305" y="2832"/>
                  </a:lnTo>
                  <a:lnTo>
                    <a:pt x="3288" y="2793"/>
                  </a:lnTo>
                  <a:lnTo>
                    <a:pt x="3276" y="2751"/>
                  </a:lnTo>
                  <a:lnTo>
                    <a:pt x="3271" y="2707"/>
                  </a:lnTo>
                  <a:lnTo>
                    <a:pt x="3272" y="2663"/>
                  </a:lnTo>
                  <a:lnTo>
                    <a:pt x="3280" y="2618"/>
                  </a:lnTo>
                  <a:lnTo>
                    <a:pt x="3295" y="2575"/>
                  </a:lnTo>
                  <a:lnTo>
                    <a:pt x="3315" y="2534"/>
                  </a:lnTo>
                  <a:lnTo>
                    <a:pt x="3341" y="2497"/>
                  </a:lnTo>
                  <a:lnTo>
                    <a:pt x="3371" y="2464"/>
                  </a:lnTo>
                  <a:lnTo>
                    <a:pt x="3406" y="2438"/>
                  </a:lnTo>
                  <a:lnTo>
                    <a:pt x="3444" y="2416"/>
                  </a:lnTo>
                  <a:lnTo>
                    <a:pt x="3486" y="2400"/>
                  </a:lnTo>
                  <a:lnTo>
                    <a:pt x="3530" y="2391"/>
                  </a:lnTo>
                  <a:lnTo>
                    <a:pt x="3576" y="2387"/>
                  </a:lnTo>
                  <a:lnTo>
                    <a:pt x="3968" y="2387"/>
                  </a:lnTo>
                  <a:lnTo>
                    <a:pt x="3987" y="2384"/>
                  </a:lnTo>
                  <a:lnTo>
                    <a:pt x="4004" y="2376"/>
                  </a:lnTo>
                  <a:lnTo>
                    <a:pt x="4017" y="2363"/>
                  </a:lnTo>
                  <a:lnTo>
                    <a:pt x="4025" y="2346"/>
                  </a:lnTo>
                  <a:lnTo>
                    <a:pt x="4028" y="2328"/>
                  </a:lnTo>
                  <a:lnTo>
                    <a:pt x="4028" y="1832"/>
                  </a:lnTo>
                  <a:lnTo>
                    <a:pt x="4025" y="1812"/>
                  </a:lnTo>
                  <a:lnTo>
                    <a:pt x="4017" y="1796"/>
                  </a:lnTo>
                  <a:lnTo>
                    <a:pt x="4004" y="1783"/>
                  </a:lnTo>
                  <a:lnTo>
                    <a:pt x="3987" y="1774"/>
                  </a:lnTo>
                  <a:lnTo>
                    <a:pt x="3968" y="1771"/>
                  </a:lnTo>
                  <a:lnTo>
                    <a:pt x="3576" y="1771"/>
                  </a:lnTo>
                  <a:lnTo>
                    <a:pt x="3530" y="1769"/>
                  </a:lnTo>
                  <a:lnTo>
                    <a:pt x="3486" y="1758"/>
                  </a:lnTo>
                  <a:lnTo>
                    <a:pt x="3444" y="1742"/>
                  </a:lnTo>
                  <a:lnTo>
                    <a:pt x="3406" y="1721"/>
                  </a:lnTo>
                  <a:lnTo>
                    <a:pt x="3371" y="1694"/>
                  </a:lnTo>
                  <a:lnTo>
                    <a:pt x="3341" y="1662"/>
                  </a:lnTo>
                  <a:lnTo>
                    <a:pt x="3315" y="1626"/>
                  </a:lnTo>
                  <a:lnTo>
                    <a:pt x="3295" y="1585"/>
                  </a:lnTo>
                  <a:lnTo>
                    <a:pt x="3280" y="1540"/>
                  </a:lnTo>
                  <a:lnTo>
                    <a:pt x="3272" y="1496"/>
                  </a:lnTo>
                  <a:lnTo>
                    <a:pt x="3271" y="1452"/>
                  </a:lnTo>
                  <a:lnTo>
                    <a:pt x="3276" y="1409"/>
                  </a:lnTo>
                  <a:lnTo>
                    <a:pt x="3288" y="1367"/>
                  </a:lnTo>
                  <a:lnTo>
                    <a:pt x="3305" y="1326"/>
                  </a:lnTo>
                  <a:lnTo>
                    <a:pt x="3330" y="1288"/>
                  </a:lnTo>
                  <a:lnTo>
                    <a:pt x="3361" y="1253"/>
                  </a:lnTo>
                  <a:lnTo>
                    <a:pt x="3637" y="978"/>
                  </a:lnTo>
                  <a:lnTo>
                    <a:pt x="3649" y="963"/>
                  </a:lnTo>
                  <a:lnTo>
                    <a:pt x="3654" y="946"/>
                  </a:lnTo>
                  <a:lnTo>
                    <a:pt x="3654" y="927"/>
                  </a:lnTo>
                  <a:lnTo>
                    <a:pt x="3649" y="909"/>
                  </a:lnTo>
                  <a:lnTo>
                    <a:pt x="3637" y="893"/>
                  </a:lnTo>
                  <a:lnTo>
                    <a:pt x="3284" y="543"/>
                  </a:lnTo>
                  <a:lnTo>
                    <a:pt x="3268" y="532"/>
                  </a:lnTo>
                  <a:lnTo>
                    <a:pt x="3251" y="526"/>
                  </a:lnTo>
                  <a:lnTo>
                    <a:pt x="3233" y="526"/>
                  </a:lnTo>
                  <a:lnTo>
                    <a:pt x="3214" y="532"/>
                  </a:lnTo>
                  <a:lnTo>
                    <a:pt x="3200" y="543"/>
                  </a:lnTo>
                  <a:lnTo>
                    <a:pt x="2922" y="818"/>
                  </a:lnTo>
                  <a:lnTo>
                    <a:pt x="2887" y="848"/>
                  </a:lnTo>
                  <a:lnTo>
                    <a:pt x="2848" y="872"/>
                  </a:lnTo>
                  <a:lnTo>
                    <a:pt x="2809" y="890"/>
                  </a:lnTo>
                  <a:lnTo>
                    <a:pt x="2766" y="902"/>
                  </a:lnTo>
                  <a:lnTo>
                    <a:pt x="2723" y="908"/>
                  </a:lnTo>
                  <a:lnTo>
                    <a:pt x="2678" y="906"/>
                  </a:lnTo>
                  <a:lnTo>
                    <a:pt x="2633" y="898"/>
                  </a:lnTo>
                  <a:lnTo>
                    <a:pt x="2590" y="884"/>
                  </a:lnTo>
                  <a:lnTo>
                    <a:pt x="2549" y="863"/>
                  </a:lnTo>
                  <a:lnTo>
                    <a:pt x="2512" y="837"/>
                  </a:lnTo>
                  <a:lnTo>
                    <a:pt x="2479" y="806"/>
                  </a:lnTo>
                  <a:lnTo>
                    <a:pt x="2452" y="772"/>
                  </a:lnTo>
                  <a:lnTo>
                    <a:pt x="2430" y="734"/>
                  </a:lnTo>
                  <a:lnTo>
                    <a:pt x="2414" y="694"/>
                  </a:lnTo>
                  <a:lnTo>
                    <a:pt x="2405" y="649"/>
                  </a:lnTo>
                  <a:lnTo>
                    <a:pt x="2401" y="603"/>
                  </a:lnTo>
                  <a:lnTo>
                    <a:pt x="2401" y="214"/>
                  </a:lnTo>
                  <a:lnTo>
                    <a:pt x="2398" y="195"/>
                  </a:lnTo>
                  <a:lnTo>
                    <a:pt x="2390" y="179"/>
                  </a:lnTo>
                  <a:lnTo>
                    <a:pt x="2377" y="166"/>
                  </a:lnTo>
                  <a:lnTo>
                    <a:pt x="2360" y="157"/>
                  </a:lnTo>
                  <a:lnTo>
                    <a:pt x="2341" y="154"/>
                  </a:lnTo>
                  <a:lnTo>
                    <a:pt x="1842" y="154"/>
                  </a:lnTo>
                  <a:close/>
                  <a:moveTo>
                    <a:pt x="1842" y="0"/>
                  </a:moveTo>
                  <a:lnTo>
                    <a:pt x="2341" y="0"/>
                  </a:lnTo>
                  <a:lnTo>
                    <a:pt x="2380" y="3"/>
                  </a:lnTo>
                  <a:lnTo>
                    <a:pt x="2415" y="14"/>
                  </a:lnTo>
                  <a:lnTo>
                    <a:pt x="2450" y="29"/>
                  </a:lnTo>
                  <a:lnTo>
                    <a:pt x="2480" y="50"/>
                  </a:lnTo>
                  <a:lnTo>
                    <a:pt x="2505" y="77"/>
                  </a:lnTo>
                  <a:lnTo>
                    <a:pt x="2526" y="105"/>
                  </a:lnTo>
                  <a:lnTo>
                    <a:pt x="2542" y="140"/>
                  </a:lnTo>
                  <a:lnTo>
                    <a:pt x="2553" y="175"/>
                  </a:lnTo>
                  <a:lnTo>
                    <a:pt x="2557" y="214"/>
                  </a:lnTo>
                  <a:lnTo>
                    <a:pt x="2557" y="603"/>
                  </a:lnTo>
                  <a:lnTo>
                    <a:pt x="2559" y="633"/>
                  </a:lnTo>
                  <a:lnTo>
                    <a:pt x="2567" y="661"/>
                  </a:lnTo>
                  <a:lnTo>
                    <a:pt x="2580" y="687"/>
                  </a:lnTo>
                  <a:lnTo>
                    <a:pt x="2599" y="708"/>
                  </a:lnTo>
                  <a:lnTo>
                    <a:pt x="2621" y="726"/>
                  </a:lnTo>
                  <a:lnTo>
                    <a:pt x="2649" y="741"/>
                  </a:lnTo>
                  <a:lnTo>
                    <a:pt x="2678" y="750"/>
                  </a:lnTo>
                  <a:lnTo>
                    <a:pt x="2707" y="753"/>
                  </a:lnTo>
                  <a:lnTo>
                    <a:pt x="2736" y="750"/>
                  </a:lnTo>
                  <a:lnTo>
                    <a:pt x="2764" y="742"/>
                  </a:lnTo>
                  <a:lnTo>
                    <a:pt x="2789" y="728"/>
                  </a:lnTo>
                  <a:lnTo>
                    <a:pt x="2813" y="709"/>
                  </a:lnTo>
                  <a:lnTo>
                    <a:pt x="3089" y="434"/>
                  </a:lnTo>
                  <a:lnTo>
                    <a:pt x="3119" y="410"/>
                  </a:lnTo>
                  <a:lnTo>
                    <a:pt x="3151" y="392"/>
                  </a:lnTo>
                  <a:lnTo>
                    <a:pt x="3186" y="380"/>
                  </a:lnTo>
                  <a:lnTo>
                    <a:pt x="3223" y="373"/>
                  </a:lnTo>
                  <a:lnTo>
                    <a:pt x="3260" y="373"/>
                  </a:lnTo>
                  <a:lnTo>
                    <a:pt x="3297" y="380"/>
                  </a:lnTo>
                  <a:lnTo>
                    <a:pt x="3332" y="392"/>
                  </a:lnTo>
                  <a:lnTo>
                    <a:pt x="3365" y="410"/>
                  </a:lnTo>
                  <a:lnTo>
                    <a:pt x="3394" y="434"/>
                  </a:lnTo>
                  <a:lnTo>
                    <a:pt x="3746" y="784"/>
                  </a:lnTo>
                  <a:lnTo>
                    <a:pt x="3769" y="810"/>
                  </a:lnTo>
                  <a:lnTo>
                    <a:pt x="3786" y="839"/>
                  </a:lnTo>
                  <a:lnTo>
                    <a:pt x="3799" y="869"/>
                  </a:lnTo>
                  <a:lnTo>
                    <a:pt x="3807" y="902"/>
                  </a:lnTo>
                  <a:lnTo>
                    <a:pt x="3810" y="936"/>
                  </a:lnTo>
                  <a:lnTo>
                    <a:pt x="3807" y="969"/>
                  </a:lnTo>
                  <a:lnTo>
                    <a:pt x="3799" y="1002"/>
                  </a:lnTo>
                  <a:lnTo>
                    <a:pt x="3786" y="1034"/>
                  </a:lnTo>
                  <a:lnTo>
                    <a:pt x="3769" y="1061"/>
                  </a:lnTo>
                  <a:lnTo>
                    <a:pt x="3746" y="1087"/>
                  </a:lnTo>
                  <a:lnTo>
                    <a:pt x="3470" y="1362"/>
                  </a:lnTo>
                  <a:lnTo>
                    <a:pt x="3451" y="1385"/>
                  </a:lnTo>
                  <a:lnTo>
                    <a:pt x="3436" y="1412"/>
                  </a:lnTo>
                  <a:lnTo>
                    <a:pt x="3428" y="1439"/>
                  </a:lnTo>
                  <a:lnTo>
                    <a:pt x="3425" y="1467"/>
                  </a:lnTo>
                  <a:lnTo>
                    <a:pt x="3428" y="1496"/>
                  </a:lnTo>
                  <a:lnTo>
                    <a:pt x="3437" y="1526"/>
                  </a:lnTo>
                  <a:lnTo>
                    <a:pt x="3452" y="1552"/>
                  </a:lnTo>
                  <a:lnTo>
                    <a:pt x="3470" y="1574"/>
                  </a:lnTo>
                  <a:lnTo>
                    <a:pt x="3493" y="1593"/>
                  </a:lnTo>
                  <a:lnTo>
                    <a:pt x="3518" y="1606"/>
                  </a:lnTo>
                  <a:lnTo>
                    <a:pt x="3546" y="1615"/>
                  </a:lnTo>
                  <a:lnTo>
                    <a:pt x="3576" y="1618"/>
                  </a:lnTo>
                  <a:lnTo>
                    <a:pt x="3968" y="1618"/>
                  </a:lnTo>
                  <a:lnTo>
                    <a:pt x="4006" y="1620"/>
                  </a:lnTo>
                  <a:lnTo>
                    <a:pt x="4042" y="1631"/>
                  </a:lnTo>
                  <a:lnTo>
                    <a:pt x="4076" y="1647"/>
                  </a:lnTo>
                  <a:lnTo>
                    <a:pt x="4107" y="1668"/>
                  </a:lnTo>
                  <a:lnTo>
                    <a:pt x="4132" y="1694"/>
                  </a:lnTo>
                  <a:lnTo>
                    <a:pt x="4153" y="1723"/>
                  </a:lnTo>
                  <a:lnTo>
                    <a:pt x="4169" y="1757"/>
                  </a:lnTo>
                  <a:lnTo>
                    <a:pt x="4179" y="1792"/>
                  </a:lnTo>
                  <a:lnTo>
                    <a:pt x="4183" y="1832"/>
                  </a:lnTo>
                  <a:lnTo>
                    <a:pt x="4183" y="2328"/>
                  </a:lnTo>
                  <a:lnTo>
                    <a:pt x="4179" y="2366"/>
                  </a:lnTo>
                  <a:lnTo>
                    <a:pt x="4169" y="2401"/>
                  </a:lnTo>
                  <a:lnTo>
                    <a:pt x="4153" y="2436"/>
                  </a:lnTo>
                  <a:lnTo>
                    <a:pt x="4132" y="2466"/>
                  </a:lnTo>
                  <a:lnTo>
                    <a:pt x="4107" y="2491"/>
                  </a:lnTo>
                  <a:lnTo>
                    <a:pt x="4076" y="2512"/>
                  </a:lnTo>
                  <a:lnTo>
                    <a:pt x="4042" y="2527"/>
                  </a:lnTo>
                  <a:lnTo>
                    <a:pt x="4006" y="2538"/>
                  </a:lnTo>
                  <a:lnTo>
                    <a:pt x="3968" y="2542"/>
                  </a:lnTo>
                  <a:lnTo>
                    <a:pt x="3576" y="2542"/>
                  </a:lnTo>
                  <a:lnTo>
                    <a:pt x="3546" y="2545"/>
                  </a:lnTo>
                  <a:lnTo>
                    <a:pt x="3518" y="2552"/>
                  </a:lnTo>
                  <a:lnTo>
                    <a:pt x="3491" y="2566"/>
                  </a:lnTo>
                  <a:lnTo>
                    <a:pt x="3470" y="2584"/>
                  </a:lnTo>
                  <a:lnTo>
                    <a:pt x="3452" y="2606"/>
                  </a:lnTo>
                  <a:lnTo>
                    <a:pt x="3437" y="2634"/>
                  </a:lnTo>
                  <a:lnTo>
                    <a:pt x="3428" y="2663"/>
                  </a:lnTo>
                  <a:lnTo>
                    <a:pt x="3425" y="2692"/>
                  </a:lnTo>
                  <a:lnTo>
                    <a:pt x="3428" y="2720"/>
                  </a:lnTo>
                  <a:lnTo>
                    <a:pt x="3436" y="2748"/>
                  </a:lnTo>
                  <a:lnTo>
                    <a:pt x="3451" y="2773"/>
                  </a:lnTo>
                  <a:lnTo>
                    <a:pt x="3470" y="2797"/>
                  </a:lnTo>
                  <a:lnTo>
                    <a:pt x="3746" y="3071"/>
                  </a:lnTo>
                  <a:lnTo>
                    <a:pt x="3769" y="3097"/>
                  </a:lnTo>
                  <a:lnTo>
                    <a:pt x="3786" y="3126"/>
                  </a:lnTo>
                  <a:lnTo>
                    <a:pt x="3799" y="3156"/>
                  </a:lnTo>
                  <a:lnTo>
                    <a:pt x="3807" y="3189"/>
                  </a:lnTo>
                  <a:lnTo>
                    <a:pt x="3810" y="3223"/>
                  </a:lnTo>
                  <a:lnTo>
                    <a:pt x="3807" y="3257"/>
                  </a:lnTo>
                  <a:lnTo>
                    <a:pt x="3799" y="3289"/>
                  </a:lnTo>
                  <a:lnTo>
                    <a:pt x="3786" y="3320"/>
                  </a:lnTo>
                  <a:lnTo>
                    <a:pt x="3769" y="3349"/>
                  </a:lnTo>
                  <a:lnTo>
                    <a:pt x="3746" y="3374"/>
                  </a:lnTo>
                  <a:lnTo>
                    <a:pt x="3394" y="3725"/>
                  </a:lnTo>
                  <a:lnTo>
                    <a:pt x="3365" y="3750"/>
                  </a:lnTo>
                  <a:lnTo>
                    <a:pt x="3332" y="3767"/>
                  </a:lnTo>
                  <a:lnTo>
                    <a:pt x="3297" y="3778"/>
                  </a:lnTo>
                  <a:lnTo>
                    <a:pt x="3260" y="3785"/>
                  </a:lnTo>
                  <a:lnTo>
                    <a:pt x="3223" y="3785"/>
                  </a:lnTo>
                  <a:lnTo>
                    <a:pt x="3186" y="3778"/>
                  </a:lnTo>
                  <a:lnTo>
                    <a:pt x="3151" y="3767"/>
                  </a:lnTo>
                  <a:lnTo>
                    <a:pt x="3119" y="3750"/>
                  </a:lnTo>
                  <a:lnTo>
                    <a:pt x="3089" y="3725"/>
                  </a:lnTo>
                  <a:lnTo>
                    <a:pt x="2813" y="3450"/>
                  </a:lnTo>
                  <a:lnTo>
                    <a:pt x="2789" y="3431"/>
                  </a:lnTo>
                  <a:lnTo>
                    <a:pt x="2764" y="3416"/>
                  </a:lnTo>
                  <a:lnTo>
                    <a:pt x="2736" y="3408"/>
                  </a:lnTo>
                  <a:lnTo>
                    <a:pt x="2707" y="3406"/>
                  </a:lnTo>
                  <a:lnTo>
                    <a:pt x="2678" y="3408"/>
                  </a:lnTo>
                  <a:lnTo>
                    <a:pt x="2649" y="3417"/>
                  </a:lnTo>
                  <a:lnTo>
                    <a:pt x="2621" y="3432"/>
                  </a:lnTo>
                  <a:lnTo>
                    <a:pt x="2599" y="3450"/>
                  </a:lnTo>
                  <a:lnTo>
                    <a:pt x="2580" y="3473"/>
                  </a:lnTo>
                  <a:lnTo>
                    <a:pt x="2567" y="3498"/>
                  </a:lnTo>
                  <a:lnTo>
                    <a:pt x="2559" y="3525"/>
                  </a:lnTo>
                  <a:lnTo>
                    <a:pt x="2557" y="3555"/>
                  </a:lnTo>
                  <a:lnTo>
                    <a:pt x="2557" y="3945"/>
                  </a:lnTo>
                  <a:lnTo>
                    <a:pt x="2553" y="3983"/>
                  </a:lnTo>
                  <a:lnTo>
                    <a:pt x="2542" y="4019"/>
                  </a:lnTo>
                  <a:lnTo>
                    <a:pt x="2526" y="4053"/>
                  </a:lnTo>
                  <a:lnTo>
                    <a:pt x="2505" y="4083"/>
                  </a:lnTo>
                  <a:lnTo>
                    <a:pt x="2480" y="4108"/>
                  </a:lnTo>
                  <a:lnTo>
                    <a:pt x="2450" y="4129"/>
                  </a:lnTo>
                  <a:lnTo>
                    <a:pt x="2415" y="4145"/>
                  </a:lnTo>
                  <a:lnTo>
                    <a:pt x="2380" y="4155"/>
                  </a:lnTo>
                  <a:lnTo>
                    <a:pt x="2341" y="4159"/>
                  </a:lnTo>
                  <a:lnTo>
                    <a:pt x="1842" y="4159"/>
                  </a:lnTo>
                  <a:lnTo>
                    <a:pt x="1803" y="4155"/>
                  </a:lnTo>
                  <a:lnTo>
                    <a:pt x="1767" y="4145"/>
                  </a:lnTo>
                  <a:lnTo>
                    <a:pt x="1733" y="4129"/>
                  </a:lnTo>
                  <a:lnTo>
                    <a:pt x="1703" y="4108"/>
                  </a:lnTo>
                  <a:lnTo>
                    <a:pt x="1677" y="4083"/>
                  </a:lnTo>
                  <a:lnTo>
                    <a:pt x="1656" y="4053"/>
                  </a:lnTo>
                  <a:lnTo>
                    <a:pt x="1640" y="4019"/>
                  </a:lnTo>
                  <a:lnTo>
                    <a:pt x="1630" y="3983"/>
                  </a:lnTo>
                  <a:lnTo>
                    <a:pt x="1627" y="3945"/>
                  </a:lnTo>
                  <a:lnTo>
                    <a:pt x="1627" y="3555"/>
                  </a:lnTo>
                  <a:lnTo>
                    <a:pt x="1624" y="3525"/>
                  </a:lnTo>
                  <a:lnTo>
                    <a:pt x="1615" y="3498"/>
                  </a:lnTo>
                  <a:lnTo>
                    <a:pt x="1602" y="3473"/>
                  </a:lnTo>
                  <a:lnTo>
                    <a:pt x="1583" y="3450"/>
                  </a:lnTo>
                  <a:lnTo>
                    <a:pt x="1561" y="3432"/>
                  </a:lnTo>
                  <a:lnTo>
                    <a:pt x="1534" y="3417"/>
                  </a:lnTo>
                  <a:lnTo>
                    <a:pt x="1504" y="3408"/>
                  </a:lnTo>
                  <a:lnTo>
                    <a:pt x="1475" y="3406"/>
                  </a:lnTo>
                  <a:lnTo>
                    <a:pt x="1447" y="3408"/>
                  </a:lnTo>
                  <a:lnTo>
                    <a:pt x="1420" y="3416"/>
                  </a:lnTo>
                  <a:lnTo>
                    <a:pt x="1393" y="3431"/>
                  </a:lnTo>
                  <a:lnTo>
                    <a:pt x="1369" y="3450"/>
                  </a:lnTo>
                  <a:lnTo>
                    <a:pt x="1093" y="3725"/>
                  </a:lnTo>
                  <a:lnTo>
                    <a:pt x="1064" y="3750"/>
                  </a:lnTo>
                  <a:lnTo>
                    <a:pt x="1031" y="3767"/>
                  </a:lnTo>
                  <a:lnTo>
                    <a:pt x="996" y="3778"/>
                  </a:lnTo>
                  <a:lnTo>
                    <a:pt x="960" y="3785"/>
                  </a:lnTo>
                  <a:lnTo>
                    <a:pt x="922" y="3785"/>
                  </a:lnTo>
                  <a:lnTo>
                    <a:pt x="886" y="3778"/>
                  </a:lnTo>
                  <a:lnTo>
                    <a:pt x="850" y="3767"/>
                  </a:lnTo>
                  <a:lnTo>
                    <a:pt x="817" y="3750"/>
                  </a:lnTo>
                  <a:lnTo>
                    <a:pt x="788" y="3725"/>
                  </a:lnTo>
                  <a:lnTo>
                    <a:pt x="436" y="3374"/>
                  </a:lnTo>
                  <a:lnTo>
                    <a:pt x="413" y="3349"/>
                  </a:lnTo>
                  <a:lnTo>
                    <a:pt x="396" y="3320"/>
                  </a:lnTo>
                  <a:lnTo>
                    <a:pt x="383" y="3289"/>
                  </a:lnTo>
                  <a:lnTo>
                    <a:pt x="375" y="3257"/>
                  </a:lnTo>
                  <a:lnTo>
                    <a:pt x="372" y="3223"/>
                  </a:lnTo>
                  <a:lnTo>
                    <a:pt x="375" y="3189"/>
                  </a:lnTo>
                  <a:lnTo>
                    <a:pt x="383" y="3156"/>
                  </a:lnTo>
                  <a:lnTo>
                    <a:pt x="396" y="3126"/>
                  </a:lnTo>
                  <a:lnTo>
                    <a:pt x="413" y="3097"/>
                  </a:lnTo>
                  <a:lnTo>
                    <a:pt x="436" y="3071"/>
                  </a:lnTo>
                  <a:lnTo>
                    <a:pt x="713" y="2797"/>
                  </a:lnTo>
                  <a:lnTo>
                    <a:pt x="732" y="2773"/>
                  </a:lnTo>
                  <a:lnTo>
                    <a:pt x="746" y="2748"/>
                  </a:lnTo>
                  <a:lnTo>
                    <a:pt x="754" y="2720"/>
                  </a:lnTo>
                  <a:lnTo>
                    <a:pt x="757" y="2692"/>
                  </a:lnTo>
                  <a:lnTo>
                    <a:pt x="754" y="2663"/>
                  </a:lnTo>
                  <a:lnTo>
                    <a:pt x="745" y="2634"/>
                  </a:lnTo>
                  <a:lnTo>
                    <a:pt x="730" y="2606"/>
                  </a:lnTo>
                  <a:lnTo>
                    <a:pt x="712" y="2584"/>
                  </a:lnTo>
                  <a:lnTo>
                    <a:pt x="691" y="2566"/>
                  </a:lnTo>
                  <a:lnTo>
                    <a:pt x="664" y="2552"/>
                  </a:lnTo>
                  <a:lnTo>
                    <a:pt x="636" y="2545"/>
                  </a:lnTo>
                  <a:lnTo>
                    <a:pt x="606" y="2542"/>
                  </a:lnTo>
                  <a:lnTo>
                    <a:pt x="215" y="2542"/>
                  </a:lnTo>
                  <a:lnTo>
                    <a:pt x="176" y="2538"/>
                  </a:lnTo>
                  <a:lnTo>
                    <a:pt x="140" y="2527"/>
                  </a:lnTo>
                  <a:lnTo>
                    <a:pt x="106" y="2512"/>
                  </a:lnTo>
                  <a:lnTo>
                    <a:pt x="77" y="2491"/>
                  </a:lnTo>
                  <a:lnTo>
                    <a:pt x="50" y="2466"/>
                  </a:lnTo>
                  <a:lnTo>
                    <a:pt x="29" y="2436"/>
                  </a:lnTo>
                  <a:lnTo>
                    <a:pt x="13" y="2401"/>
                  </a:lnTo>
                  <a:lnTo>
                    <a:pt x="3" y="2366"/>
                  </a:lnTo>
                  <a:lnTo>
                    <a:pt x="0" y="2328"/>
                  </a:lnTo>
                  <a:lnTo>
                    <a:pt x="0" y="1832"/>
                  </a:lnTo>
                  <a:lnTo>
                    <a:pt x="3" y="1792"/>
                  </a:lnTo>
                  <a:lnTo>
                    <a:pt x="13" y="1757"/>
                  </a:lnTo>
                  <a:lnTo>
                    <a:pt x="29" y="1723"/>
                  </a:lnTo>
                  <a:lnTo>
                    <a:pt x="50" y="1694"/>
                  </a:lnTo>
                  <a:lnTo>
                    <a:pt x="77" y="1668"/>
                  </a:lnTo>
                  <a:lnTo>
                    <a:pt x="106" y="1647"/>
                  </a:lnTo>
                  <a:lnTo>
                    <a:pt x="140" y="1631"/>
                  </a:lnTo>
                  <a:lnTo>
                    <a:pt x="176" y="1620"/>
                  </a:lnTo>
                  <a:lnTo>
                    <a:pt x="215" y="1618"/>
                  </a:lnTo>
                  <a:lnTo>
                    <a:pt x="606" y="1618"/>
                  </a:lnTo>
                  <a:lnTo>
                    <a:pt x="636" y="1615"/>
                  </a:lnTo>
                  <a:lnTo>
                    <a:pt x="666" y="1606"/>
                  </a:lnTo>
                  <a:lnTo>
                    <a:pt x="691" y="1593"/>
                  </a:lnTo>
                  <a:lnTo>
                    <a:pt x="713" y="1574"/>
                  </a:lnTo>
                  <a:lnTo>
                    <a:pt x="732" y="1552"/>
                  </a:lnTo>
                  <a:lnTo>
                    <a:pt x="745" y="1526"/>
                  </a:lnTo>
                  <a:lnTo>
                    <a:pt x="754" y="1496"/>
                  </a:lnTo>
                  <a:lnTo>
                    <a:pt x="757" y="1467"/>
                  </a:lnTo>
                  <a:lnTo>
                    <a:pt x="754" y="1439"/>
                  </a:lnTo>
                  <a:lnTo>
                    <a:pt x="746" y="1412"/>
                  </a:lnTo>
                  <a:lnTo>
                    <a:pt x="732" y="1385"/>
                  </a:lnTo>
                  <a:lnTo>
                    <a:pt x="713" y="1362"/>
                  </a:lnTo>
                  <a:lnTo>
                    <a:pt x="436" y="1087"/>
                  </a:lnTo>
                  <a:lnTo>
                    <a:pt x="413" y="1061"/>
                  </a:lnTo>
                  <a:lnTo>
                    <a:pt x="396" y="1034"/>
                  </a:lnTo>
                  <a:lnTo>
                    <a:pt x="383" y="1002"/>
                  </a:lnTo>
                  <a:lnTo>
                    <a:pt x="375" y="969"/>
                  </a:lnTo>
                  <a:lnTo>
                    <a:pt x="372" y="936"/>
                  </a:lnTo>
                  <a:lnTo>
                    <a:pt x="375" y="902"/>
                  </a:lnTo>
                  <a:lnTo>
                    <a:pt x="383" y="869"/>
                  </a:lnTo>
                  <a:lnTo>
                    <a:pt x="396" y="839"/>
                  </a:lnTo>
                  <a:lnTo>
                    <a:pt x="413" y="810"/>
                  </a:lnTo>
                  <a:lnTo>
                    <a:pt x="436" y="784"/>
                  </a:lnTo>
                  <a:lnTo>
                    <a:pt x="788" y="434"/>
                  </a:lnTo>
                  <a:lnTo>
                    <a:pt x="817" y="410"/>
                  </a:lnTo>
                  <a:lnTo>
                    <a:pt x="850" y="392"/>
                  </a:lnTo>
                  <a:lnTo>
                    <a:pt x="886" y="380"/>
                  </a:lnTo>
                  <a:lnTo>
                    <a:pt x="922" y="373"/>
                  </a:lnTo>
                  <a:lnTo>
                    <a:pt x="960" y="373"/>
                  </a:lnTo>
                  <a:lnTo>
                    <a:pt x="996" y="380"/>
                  </a:lnTo>
                  <a:lnTo>
                    <a:pt x="1031" y="392"/>
                  </a:lnTo>
                  <a:lnTo>
                    <a:pt x="1064" y="410"/>
                  </a:lnTo>
                  <a:lnTo>
                    <a:pt x="1093" y="434"/>
                  </a:lnTo>
                  <a:lnTo>
                    <a:pt x="1369" y="709"/>
                  </a:lnTo>
                  <a:lnTo>
                    <a:pt x="1393" y="728"/>
                  </a:lnTo>
                  <a:lnTo>
                    <a:pt x="1420" y="742"/>
                  </a:lnTo>
                  <a:lnTo>
                    <a:pt x="1447" y="750"/>
                  </a:lnTo>
                  <a:lnTo>
                    <a:pt x="1475" y="753"/>
                  </a:lnTo>
                  <a:lnTo>
                    <a:pt x="1504" y="750"/>
                  </a:lnTo>
                  <a:lnTo>
                    <a:pt x="1534" y="741"/>
                  </a:lnTo>
                  <a:lnTo>
                    <a:pt x="1561" y="726"/>
                  </a:lnTo>
                  <a:lnTo>
                    <a:pt x="1583" y="708"/>
                  </a:lnTo>
                  <a:lnTo>
                    <a:pt x="1602" y="687"/>
                  </a:lnTo>
                  <a:lnTo>
                    <a:pt x="1615" y="661"/>
                  </a:lnTo>
                  <a:lnTo>
                    <a:pt x="1624" y="633"/>
                  </a:lnTo>
                  <a:lnTo>
                    <a:pt x="1627" y="603"/>
                  </a:lnTo>
                  <a:lnTo>
                    <a:pt x="1627" y="214"/>
                  </a:lnTo>
                  <a:lnTo>
                    <a:pt x="1630" y="175"/>
                  </a:lnTo>
                  <a:lnTo>
                    <a:pt x="1640" y="140"/>
                  </a:lnTo>
                  <a:lnTo>
                    <a:pt x="1656" y="105"/>
                  </a:lnTo>
                  <a:lnTo>
                    <a:pt x="1677" y="77"/>
                  </a:lnTo>
                  <a:lnTo>
                    <a:pt x="1703" y="50"/>
                  </a:lnTo>
                  <a:lnTo>
                    <a:pt x="1733" y="29"/>
                  </a:lnTo>
                  <a:lnTo>
                    <a:pt x="1767" y="14"/>
                  </a:lnTo>
                  <a:lnTo>
                    <a:pt x="1803" y="3"/>
                  </a:lnTo>
                  <a:lnTo>
                    <a:pt x="18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11" name="Freeform 47"/>
            <p:cNvSpPr>
              <a:spLocks noEditPoints="1"/>
            </p:cNvSpPr>
            <p:nvPr/>
          </p:nvSpPr>
          <p:spPr bwMode="auto">
            <a:xfrm>
              <a:off x="2195513" y="5191125"/>
              <a:ext cx="738188" cy="733425"/>
            </a:xfrm>
            <a:custGeom>
              <a:avLst/>
              <a:gdLst>
                <a:gd name="T0" fmla="*/ 634 w 1395"/>
                <a:gd name="T1" fmla="*/ 157 h 1386"/>
                <a:gd name="T2" fmla="*/ 514 w 1395"/>
                <a:gd name="T3" fmla="*/ 185 h 1386"/>
                <a:gd name="T4" fmla="*/ 407 w 1395"/>
                <a:gd name="T5" fmla="*/ 237 h 1386"/>
                <a:gd name="T6" fmla="*/ 313 w 1395"/>
                <a:gd name="T7" fmla="*/ 311 h 1386"/>
                <a:gd name="T8" fmla="*/ 239 w 1395"/>
                <a:gd name="T9" fmla="*/ 404 h 1386"/>
                <a:gd name="T10" fmla="*/ 187 w 1395"/>
                <a:gd name="T11" fmla="*/ 510 h 1386"/>
                <a:gd name="T12" fmla="*/ 159 w 1395"/>
                <a:gd name="T13" fmla="*/ 630 h 1386"/>
                <a:gd name="T14" fmla="*/ 159 w 1395"/>
                <a:gd name="T15" fmla="*/ 756 h 1386"/>
                <a:gd name="T16" fmla="*/ 187 w 1395"/>
                <a:gd name="T17" fmla="*/ 874 h 1386"/>
                <a:gd name="T18" fmla="*/ 239 w 1395"/>
                <a:gd name="T19" fmla="*/ 982 h 1386"/>
                <a:gd name="T20" fmla="*/ 313 w 1395"/>
                <a:gd name="T21" fmla="*/ 1074 h 1386"/>
                <a:gd name="T22" fmla="*/ 407 w 1395"/>
                <a:gd name="T23" fmla="*/ 1147 h 1386"/>
                <a:gd name="T24" fmla="*/ 514 w 1395"/>
                <a:gd name="T25" fmla="*/ 1200 h 1386"/>
                <a:gd name="T26" fmla="*/ 634 w 1395"/>
                <a:gd name="T27" fmla="*/ 1227 h 1386"/>
                <a:gd name="T28" fmla="*/ 761 w 1395"/>
                <a:gd name="T29" fmla="*/ 1227 h 1386"/>
                <a:gd name="T30" fmla="*/ 880 w 1395"/>
                <a:gd name="T31" fmla="*/ 1200 h 1386"/>
                <a:gd name="T32" fmla="*/ 988 w 1395"/>
                <a:gd name="T33" fmla="*/ 1147 h 1386"/>
                <a:gd name="T34" fmla="*/ 1081 w 1395"/>
                <a:gd name="T35" fmla="*/ 1074 h 1386"/>
                <a:gd name="T36" fmla="*/ 1155 w 1395"/>
                <a:gd name="T37" fmla="*/ 982 h 1386"/>
                <a:gd name="T38" fmla="*/ 1207 w 1395"/>
                <a:gd name="T39" fmla="*/ 874 h 1386"/>
                <a:gd name="T40" fmla="*/ 1235 w 1395"/>
                <a:gd name="T41" fmla="*/ 756 h 1386"/>
                <a:gd name="T42" fmla="*/ 1235 w 1395"/>
                <a:gd name="T43" fmla="*/ 630 h 1386"/>
                <a:gd name="T44" fmla="*/ 1207 w 1395"/>
                <a:gd name="T45" fmla="*/ 510 h 1386"/>
                <a:gd name="T46" fmla="*/ 1155 w 1395"/>
                <a:gd name="T47" fmla="*/ 404 h 1386"/>
                <a:gd name="T48" fmla="*/ 1081 w 1395"/>
                <a:gd name="T49" fmla="*/ 311 h 1386"/>
                <a:gd name="T50" fmla="*/ 988 w 1395"/>
                <a:gd name="T51" fmla="*/ 237 h 1386"/>
                <a:gd name="T52" fmla="*/ 880 w 1395"/>
                <a:gd name="T53" fmla="*/ 185 h 1386"/>
                <a:gd name="T54" fmla="*/ 761 w 1395"/>
                <a:gd name="T55" fmla="*/ 157 h 1386"/>
                <a:gd name="T56" fmla="*/ 698 w 1395"/>
                <a:gd name="T57" fmla="*/ 0 h 1386"/>
                <a:gd name="T58" fmla="*/ 847 w 1395"/>
                <a:gd name="T59" fmla="*/ 15 h 1386"/>
                <a:gd name="T60" fmla="*/ 986 w 1395"/>
                <a:gd name="T61" fmla="*/ 61 h 1386"/>
                <a:gd name="T62" fmla="*/ 1108 w 1395"/>
                <a:gd name="T63" fmla="*/ 134 h 1386"/>
                <a:gd name="T64" fmla="*/ 1215 w 1395"/>
                <a:gd name="T65" fmla="*/ 228 h 1386"/>
                <a:gd name="T66" fmla="*/ 1300 w 1395"/>
                <a:gd name="T67" fmla="*/ 342 h 1386"/>
                <a:gd name="T68" fmla="*/ 1359 w 1395"/>
                <a:gd name="T69" fmla="*/ 474 h 1386"/>
                <a:gd name="T70" fmla="*/ 1391 w 1395"/>
                <a:gd name="T71" fmla="*/ 617 h 1386"/>
                <a:gd name="T72" fmla="*/ 1391 w 1395"/>
                <a:gd name="T73" fmla="*/ 768 h 1386"/>
                <a:gd name="T74" fmla="*/ 1359 w 1395"/>
                <a:gd name="T75" fmla="*/ 911 h 1386"/>
                <a:gd name="T76" fmla="*/ 1300 w 1395"/>
                <a:gd name="T77" fmla="*/ 1042 h 1386"/>
                <a:gd name="T78" fmla="*/ 1215 w 1395"/>
                <a:gd name="T79" fmla="*/ 1156 h 1386"/>
                <a:gd name="T80" fmla="*/ 1108 w 1395"/>
                <a:gd name="T81" fmla="*/ 1252 h 1386"/>
                <a:gd name="T82" fmla="*/ 986 w 1395"/>
                <a:gd name="T83" fmla="*/ 1324 h 1386"/>
                <a:gd name="T84" fmla="*/ 847 w 1395"/>
                <a:gd name="T85" fmla="*/ 1370 h 1386"/>
                <a:gd name="T86" fmla="*/ 698 w 1395"/>
                <a:gd name="T87" fmla="*/ 1386 h 1386"/>
                <a:gd name="T88" fmla="*/ 548 w 1395"/>
                <a:gd name="T89" fmla="*/ 1370 h 1386"/>
                <a:gd name="T90" fmla="*/ 410 w 1395"/>
                <a:gd name="T91" fmla="*/ 1324 h 1386"/>
                <a:gd name="T92" fmla="*/ 286 w 1395"/>
                <a:gd name="T93" fmla="*/ 1252 h 1386"/>
                <a:gd name="T94" fmla="*/ 180 w 1395"/>
                <a:gd name="T95" fmla="*/ 1156 h 1386"/>
                <a:gd name="T96" fmla="*/ 96 w 1395"/>
                <a:gd name="T97" fmla="*/ 1042 h 1386"/>
                <a:gd name="T98" fmla="*/ 35 w 1395"/>
                <a:gd name="T99" fmla="*/ 911 h 1386"/>
                <a:gd name="T100" fmla="*/ 4 w 1395"/>
                <a:gd name="T101" fmla="*/ 768 h 1386"/>
                <a:gd name="T102" fmla="*/ 4 w 1395"/>
                <a:gd name="T103" fmla="*/ 617 h 1386"/>
                <a:gd name="T104" fmla="*/ 35 w 1395"/>
                <a:gd name="T105" fmla="*/ 474 h 1386"/>
                <a:gd name="T106" fmla="*/ 96 w 1395"/>
                <a:gd name="T107" fmla="*/ 342 h 1386"/>
                <a:gd name="T108" fmla="*/ 180 w 1395"/>
                <a:gd name="T109" fmla="*/ 228 h 1386"/>
                <a:gd name="T110" fmla="*/ 286 w 1395"/>
                <a:gd name="T111" fmla="*/ 134 h 1386"/>
                <a:gd name="T112" fmla="*/ 410 w 1395"/>
                <a:gd name="T113" fmla="*/ 61 h 1386"/>
                <a:gd name="T114" fmla="*/ 548 w 1395"/>
                <a:gd name="T115" fmla="*/ 15 h 1386"/>
                <a:gd name="T116" fmla="*/ 698 w 1395"/>
                <a:gd name="T117" fmla="*/ 0 h 1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5" h="1386">
                  <a:moveTo>
                    <a:pt x="698" y="153"/>
                  </a:moveTo>
                  <a:lnTo>
                    <a:pt x="634" y="157"/>
                  </a:lnTo>
                  <a:lnTo>
                    <a:pt x="574" y="168"/>
                  </a:lnTo>
                  <a:lnTo>
                    <a:pt x="514" y="185"/>
                  </a:lnTo>
                  <a:lnTo>
                    <a:pt x="459" y="208"/>
                  </a:lnTo>
                  <a:lnTo>
                    <a:pt x="407" y="237"/>
                  </a:lnTo>
                  <a:lnTo>
                    <a:pt x="358" y="271"/>
                  </a:lnTo>
                  <a:lnTo>
                    <a:pt x="313" y="311"/>
                  </a:lnTo>
                  <a:lnTo>
                    <a:pt x="274" y="355"/>
                  </a:lnTo>
                  <a:lnTo>
                    <a:pt x="239" y="404"/>
                  </a:lnTo>
                  <a:lnTo>
                    <a:pt x="210" y="455"/>
                  </a:lnTo>
                  <a:lnTo>
                    <a:pt x="187" y="510"/>
                  </a:lnTo>
                  <a:lnTo>
                    <a:pt x="169" y="569"/>
                  </a:lnTo>
                  <a:lnTo>
                    <a:pt x="159" y="630"/>
                  </a:lnTo>
                  <a:lnTo>
                    <a:pt x="155" y="693"/>
                  </a:lnTo>
                  <a:lnTo>
                    <a:pt x="159" y="756"/>
                  </a:lnTo>
                  <a:lnTo>
                    <a:pt x="169" y="816"/>
                  </a:lnTo>
                  <a:lnTo>
                    <a:pt x="187" y="874"/>
                  </a:lnTo>
                  <a:lnTo>
                    <a:pt x="210" y="929"/>
                  </a:lnTo>
                  <a:lnTo>
                    <a:pt x="239" y="982"/>
                  </a:lnTo>
                  <a:lnTo>
                    <a:pt x="274" y="1029"/>
                  </a:lnTo>
                  <a:lnTo>
                    <a:pt x="313" y="1074"/>
                  </a:lnTo>
                  <a:lnTo>
                    <a:pt x="358" y="1113"/>
                  </a:lnTo>
                  <a:lnTo>
                    <a:pt x="407" y="1147"/>
                  </a:lnTo>
                  <a:lnTo>
                    <a:pt x="459" y="1176"/>
                  </a:lnTo>
                  <a:lnTo>
                    <a:pt x="514" y="1200"/>
                  </a:lnTo>
                  <a:lnTo>
                    <a:pt x="574" y="1217"/>
                  </a:lnTo>
                  <a:lnTo>
                    <a:pt x="634" y="1227"/>
                  </a:lnTo>
                  <a:lnTo>
                    <a:pt x="698" y="1231"/>
                  </a:lnTo>
                  <a:lnTo>
                    <a:pt x="761" y="1227"/>
                  </a:lnTo>
                  <a:lnTo>
                    <a:pt x="822" y="1217"/>
                  </a:lnTo>
                  <a:lnTo>
                    <a:pt x="880" y="1200"/>
                  </a:lnTo>
                  <a:lnTo>
                    <a:pt x="935" y="1176"/>
                  </a:lnTo>
                  <a:lnTo>
                    <a:pt x="988" y="1147"/>
                  </a:lnTo>
                  <a:lnTo>
                    <a:pt x="1036" y="1113"/>
                  </a:lnTo>
                  <a:lnTo>
                    <a:pt x="1081" y="1074"/>
                  </a:lnTo>
                  <a:lnTo>
                    <a:pt x="1120" y="1029"/>
                  </a:lnTo>
                  <a:lnTo>
                    <a:pt x="1155" y="982"/>
                  </a:lnTo>
                  <a:lnTo>
                    <a:pt x="1184" y="929"/>
                  </a:lnTo>
                  <a:lnTo>
                    <a:pt x="1207" y="874"/>
                  </a:lnTo>
                  <a:lnTo>
                    <a:pt x="1225" y="816"/>
                  </a:lnTo>
                  <a:lnTo>
                    <a:pt x="1235" y="756"/>
                  </a:lnTo>
                  <a:lnTo>
                    <a:pt x="1239" y="693"/>
                  </a:lnTo>
                  <a:lnTo>
                    <a:pt x="1235" y="630"/>
                  </a:lnTo>
                  <a:lnTo>
                    <a:pt x="1225" y="569"/>
                  </a:lnTo>
                  <a:lnTo>
                    <a:pt x="1207" y="510"/>
                  </a:lnTo>
                  <a:lnTo>
                    <a:pt x="1184" y="455"/>
                  </a:lnTo>
                  <a:lnTo>
                    <a:pt x="1155" y="404"/>
                  </a:lnTo>
                  <a:lnTo>
                    <a:pt x="1120" y="355"/>
                  </a:lnTo>
                  <a:lnTo>
                    <a:pt x="1081" y="311"/>
                  </a:lnTo>
                  <a:lnTo>
                    <a:pt x="1036" y="271"/>
                  </a:lnTo>
                  <a:lnTo>
                    <a:pt x="988" y="237"/>
                  </a:lnTo>
                  <a:lnTo>
                    <a:pt x="935" y="208"/>
                  </a:lnTo>
                  <a:lnTo>
                    <a:pt x="880" y="185"/>
                  </a:lnTo>
                  <a:lnTo>
                    <a:pt x="822" y="168"/>
                  </a:lnTo>
                  <a:lnTo>
                    <a:pt x="761" y="157"/>
                  </a:lnTo>
                  <a:lnTo>
                    <a:pt x="698" y="153"/>
                  </a:lnTo>
                  <a:close/>
                  <a:moveTo>
                    <a:pt x="698" y="0"/>
                  </a:moveTo>
                  <a:lnTo>
                    <a:pt x="773" y="4"/>
                  </a:lnTo>
                  <a:lnTo>
                    <a:pt x="847" y="15"/>
                  </a:lnTo>
                  <a:lnTo>
                    <a:pt x="917" y="34"/>
                  </a:lnTo>
                  <a:lnTo>
                    <a:pt x="986" y="61"/>
                  </a:lnTo>
                  <a:lnTo>
                    <a:pt x="1049" y="94"/>
                  </a:lnTo>
                  <a:lnTo>
                    <a:pt x="1108" y="134"/>
                  </a:lnTo>
                  <a:lnTo>
                    <a:pt x="1164" y="178"/>
                  </a:lnTo>
                  <a:lnTo>
                    <a:pt x="1215" y="228"/>
                  </a:lnTo>
                  <a:lnTo>
                    <a:pt x="1260" y="283"/>
                  </a:lnTo>
                  <a:lnTo>
                    <a:pt x="1300" y="342"/>
                  </a:lnTo>
                  <a:lnTo>
                    <a:pt x="1333" y="407"/>
                  </a:lnTo>
                  <a:lnTo>
                    <a:pt x="1359" y="474"/>
                  </a:lnTo>
                  <a:lnTo>
                    <a:pt x="1379" y="544"/>
                  </a:lnTo>
                  <a:lnTo>
                    <a:pt x="1391" y="617"/>
                  </a:lnTo>
                  <a:lnTo>
                    <a:pt x="1395" y="693"/>
                  </a:lnTo>
                  <a:lnTo>
                    <a:pt x="1391" y="768"/>
                  </a:lnTo>
                  <a:lnTo>
                    <a:pt x="1379" y="841"/>
                  </a:lnTo>
                  <a:lnTo>
                    <a:pt x="1359" y="911"/>
                  </a:lnTo>
                  <a:lnTo>
                    <a:pt x="1333" y="979"/>
                  </a:lnTo>
                  <a:lnTo>
                    <a:pt x="1300" y="1042"/>
                  </a:lnTo>
                  <a:lnTo>
                    <a:pt x="1260" y="1101"/>
                  </a:lnTo>
                  <a:lnTo>
                    <a:pt x="1215" y="1156"/>
                  </a:lnTo>
                  <a:lnTo>
                    <a:pt x="1164" y="1207"/>
                  </a:lnTo>
                  <a:lnTo>
                    <a:pt x="1108" y="1252"/>
                  </a:lnTo>
                  <a:lnTo>
                    <a:pt x="1049" y="1291"/>
                  </a:lnTo>
                  <a:lnTo>
                    <a:pt x="986" y="1324"/>
                  </a:lnTo>
                  <a:lnTo>
                    <a:pt x="917" y="1350"/>
                  </a:lnTo>
                  <a:lnTo>
                    <a:pt x="847" y="1370"/>
                  </a:lnTo>
                  <a:lnTo>
                    <a:pt x="773" y="1382"/>
                  </a:lnTo>
                  <a:lnTo>
                    <a:pt x="698" y="1386"/>
                  </a:lnTo>
                  <a:lnTo>
                    <a:pt x="621" y="1382"/>
                  </a:lnTo>
                  <a:lnTo>
                    <a:pt x="548" y="1370"/>
                  </a:lnTo>
                  <a:lnTo>
                    <a:pt x="477" y="1350"/>
                  </a:lnTo>
                  <a:lnTo>
                    <a:pt x="410" y="1324"/>
                  </a:lnTo>
                  <a:lnTo>
                    <a:pt x="345" y="1291"/>
                  </a:lnTo>
                  <a:lnTo>
                    <a:pt x="286" y="1252"/>
                  </a:lnTo>
                  <a:lnTo>
                    <a:pt x="230" y="1207"/>
                  </a:lnTo>
                  <a:lnTo>
                    <a:pt x="180" y="1156"/>
                  </a:lnTo>
                  <a:lnTo>
                    <a:pt x="135" y="1101"/>
                  </a:lnTo>
                  <a:lnTo>
                    <a:pt x="96" y="1042"/>
                  </a:lnTo>
                  <a:lnTo>
                    <a:pt x="63" y="979"/>
                  </a:lnTo>
                  <a:lnTo>
                    <a:pt x="35" y="911"/>
                  </a:lnTo>
                  <a:lnTo>
                    <a:pt x="16" y="841"/>
                  </a:lnTo>
                  <a:lnTo>
                    <a:pt x="4" y="768"/>
                  </a:lnTo>
                  <a:lnTo>
                    <a:pt x="0" y="693"/>
                  </a:lnTo>
                  <a:lnTo>
                    <a:pt x="4" y="617"/>
                  </a:lnTo>
                  <a:lnTo>
                    <a:pt x="16" y="544"/>
                  </a:lnTo>
                  <a:lnTo>
                    <a:pt x="35" y="474"/>
                  </a:lnTo>
                  <a:lnTo>
                    <a:pt x="63" y="407"/>
                  </a:lnTo>
                  <a:lnTo>
                    <a:pt x="96" y="342"/>
                  </a:lnTo>
                  <a:lnTo>
                    <a:pt x="135" y="283"/>
                  </a:lnTo>
                  <a:lnTo>
                    <a:pt x="180" y="228"/>
                  </a:lnTo>
                  <a:lnTo>
                    <a:pt x="230" y="178"/>
                  </a:lnTo>
                  <a:lnTo>
                    <a:pt x="286" y="134"/>
                  </a:lnTo>
                  <a:lnTo>
                    <a:pt x="345" y="94"/>
                  </a:lnTo>
                  <a:lnTo>
                    <a:pt x="410" y="61"/>
                  </a:lnTo>
                  <a:lnTo>
                    <a:pt x="477" y="34"/>
                  </a:lnTo>
                  <a:lnTo>
                    <a:pt x="548" y="15"/>
                  </a:lnTo>
                  <a:lnTo>
                    <a:pt x="621" y="4"/>
                  </a:lnTo>
                  <a:lnTo>
                    <a:pt x="6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2" name="Group 73"/>
          <p:cNvGrpSpPr/>
          <p:nvPr/>
        </p:nvGrpSpPr>
        <p:grpSpPr>
          <a:xfrm>
            <a:off x="7720228" y="2564728"/>
            <a:ext cx="252162" cy="223831"/>
            <a:chOff x="4902200" y="4391025"/>
            <a:chExt cx="2274888" cy="2019300"/>
          </a:xfrm>
          <a:solidFill>
            <a:sysClr val="window" lastClr="FFFFFF"/>
          </a:solidFill>
        </p:grpSpPr>
        <p:sp>
          <p:nvSpPr>
            <p:cNvPr id="213" name="Freeform 52"/>
            <p:cNvSpPr>
              <a:spLocks noEditPoints="1"/>
            </p:cNvSpPr>
            <p:nvPr/>
          </p:nvSpPr>
          <p:spPr bwMode="auto">
            <a:xfrm>
              <a:off x="4902200" y="4391025"/>
              <a:ext cx="2274888" cy="2019300"/>
            </a:xfrm>
            <a:custGeom>
              <a:avLst/>
              <a:gdLst>
                <a:gd name="T0" fmla="*/ 143 w 4299"/>
                <a:gd name="T1" fmla="*/ 3598 h 3816"/>
                <a:gd name="T2" fmla="*/ 158 w 4299"/>
                <a:gd name="T3" fmla="*/ 3642 h 3816"/>
                <a:gd name="T4" fmla="*/ 193 w 4299"/>
                <a:gd name="T5" fmla="*/ 3668 h 3816"/>
                <a:gd name="T6" fmla="*/ 4083 w 4299"/>
                <a:gd name="T7" fmla="*/ 3672 h 3816"/>
                <a:gd name="T8" fmla="*/ 4126 w 4299"/>
                <a:gd name="T9" fmla="*/ 3657 h 3816"/>
                <a:gd name="T10" fmla="*/ 4152 w 4299"/>
                <a:gd name="T11" fmla="*/ 3621 h 3816"/>
                <a:gd name="T12" fmla="*/ 4156 w 4299"/>
                <a:gd name="T13" fmla="*/ 1368 h 3816"/>
                <a:gd name="T14" fmla="*/ 216 w 4299"/>
                <a:gd name="T15" fmla="*/ 144 h 3816"/>
                <a:gd name="T16" fmla="*/ 173 w 4299"/>
                <a:gd name="T17" fmla="*/ 158 h 3816"/>
                <a:gd name="T18" fmla="*/ 147 w 4299"/>
                <a:gd name="T19" fmla="*/ 193 h 3816"/>
                <a:gd name="T20" fmla="*/ 143 w 4299"/>
                <a:gd name="T21" fmla="*/ 1224 h 3816"/>
                <a:gd name="T22" fmla="*/ 4156 w 4299"/>
                <a:gd name="T23" fmla="*/ 793 h 3816"/>
                <a:gd name="T24" fmla="*/ 4141 w 4299"/>
                <a:gd name="T25" fmla="*/ 750 h 3816"/>
                <a:gd name="T26" fmla="*/ 4106 w 4299"/>
                <a:gd name="T27" fmla="*/ 724 h 3816"/>
                <a:gd name="T28" fmla="*/ 1864 w 4299"/>
                <a:gd name="T29" fmla="*/ 720 h 3816"/>
                <a:gd name="T30" fmla="*/ 1860 w 4299"/>
                <a:gd name="T31" fmla="*/ 193 h 3816"/>
                <a:gd name="T32" fmla="*/ 1834 w 4299"/>
                <a:gd name="T33" fmla="*/ 158 h 3816"/>
                <a:gd name="T34" fmla="*/ 1791 w 4299"/>
                <a:gd name="T35" fmla="*/ 144 h 3816"/>
                <a:gd name="T36" fmla="*/ 216 w 4299"/>
                <a:gd name="T37" fmla="*/ 0 h 3816"/>
                <a:gd name="T38" fmla="*/ 1830 w 4299"/>
                <a:gd name="T39" fmla="*/ 2 h 3816"/>
                <a:gd name="T40" fmla="*/ 1901 w 4299"/>
                <a:gd name="T41" fmla="*/ 28 h 3816"/>
                <a:gd name="T42" fmla="*/ 1957 w 4299"/>
                <a:gd name="T43" fmla="*/ 77 h 3816"/>
                <a:gd name="T44" fmla="*/ 1994 w 4299"/>
                <a:gd name="T45" fmla="*/ 141 h 3816"/>
                <a:gd name="T46" fmla="*/ 2008 w 4299"/>
                <a:gd name="T47" fmla="*/ 217 h 3816"/>
                <a:gd name="T48" fmla="*/ 4083 w 4299"/>
                <a:gd name="T49" fmla="*/ 576 h 3816"/>
                <a:gd name="T50" fmla="*/ 4158 w 4299"/>
                <a:gd name="T51" fmla="*/ 589 h 3816"/>
                <a:gd name="T52" fmla="*/ 4222 w 4299"/>
                <a:gd name="T53" fmla="*/ 627 h 3816"/>
                <a:gd name="T54" fmla="*/ 4269 w 4299"/>
                <a:gd name="T55" fmla="*/ 683 h 3816"/>
                <a:gd name="T56" fmla="*/ 4295 w 4299"/>
                <a:gd name="T57" fmla="*/ 754 h 3816"/>
                <a:gd name="T58" fmla="*/ 4299 w 4299"/>
                <a:gd name="T59" fmla="*/ 3598 h 3816"/>
                <a:gd name="T60" fmla="*/ 4286 w 4299"/>
                <a:gd name="T61" fmla="*/ 3674 h 3816"/>
                <a:gd name="T62" fmla="*/ 4248 w 4299"/>
                <a:gd name="T63" fmla="*/ 3738 h 3816"/>
                <a:gd name="T64" fmla="*/ 4192 w 4299"/>
                <a:gd name="T65" fmla="*/ 3786 h 3816"/>
                <a:gd name="T66" fmla="*/ 4122 w 4299"/>
                <a:gd name="T67" fmla="*/ 3812 h 3816"/>
                <a:gd name="T68" fmla="*/ 216 w 4299"/>
                <a:gd name="T69" fmla="*/ 3816 h 3816"/>
                <a:gd name="T70" fmla="*/ 141 w 4299"/>
                <a:gd name="T71" fmla="*/ 3801 h 3816"/>
                <a:gd name="T72" fmla="*/ 77 w 4299"/>
                <a:gd name="T73" fmla="*/ 3765 h 3816"/>
                <a:gd name="T74" fmla="*/ 30 w 4299"/>
                <a:gd name="T75" fmla="*/ 3707 h 3816"/>
                <a:gd name="T76" fmla="*/ 4 w 4299"/>
                <a:gd name="T77" fmla="*/ 3636 h 3816"/>
                <a:gd name="T78" fmla="*/ 0 w 4299"/>
                <a:gd name="T79" fmla="*/ 217 h 3816"/>
                <a:gd name="T80" fmla="*/ 13 w 4299"/>
                <a:gd name="T81" fmla="*/ 141 h 3816"/>
                <a:gd name="T82" fmla="*/ 51 w 4299"/>
                <a:gd name="T83" fmla="*/ 77 h 3816"/>
                <a:gd name="T84" fmla="*/ 107 w 4299"/>
                <a:gd name="T85" fmla="*/ 28 h 3816"/>
                <a:gd name="T86" fmla="*/ 177 w 4299"/>
                <a:gd name="T87" fmla="*/ 2 h 3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299" h="3816">
                  <a:moveTo>
                    <a:pt x="143" y="1368"/>
                  </a:moveTo>
                  <a:lnTo>
                    <a:pt x="143" y="3598"/>
                  </a:lnTo>
                  <a:lnTo>
                    <a:pt x="147" y="3621"/>
                  </a:lnTo>
                  <a:lnTo>
                    <a:pt x="158" y="3642"/>
                  </a:lnTo>
                  <a:lnTo>
                    <a:pt x="173" y="3657"/>
                  </a:lnTo>
                  <a:lnTo>
                    <a:pt x="193" y="3668"/>
                  </a:lnTo>
                  <a:lnTo>
                    <a:pt x="216" y="3672"/>
                  </a:lnTo>
                  <a:lnTo>
                    <a:pt x="4083" y="3672"/>
                  </a:lnTo>
                  <a:lnTo>
                    <a:pt x="4106" y="3668"/>
                  </a:lnTo>
                  <a:lnTo>
                    <a:pt x="4126" y="3657"/>
                  </a:lnTo>
                  <a:lnTo>
                    <a:pt x="4141" y="3642"/>
                  </a:lnTo>
                  <a:lnTo>
                    <a:pt x="4152" y="3621"/>
                  </a:lnTo>
                  <a:lnTo>
                    <a:pt x="4156" y="3598"/>
                  </a:lnTo>
                  <a:lnTo>
                    <a:pt x="4156" y="1368"/>
                  </a:lnTo>
                  <a:lnTo>
                    <a:pt x="143" y="1368"/>
                  </a:lnTo>
                  <a:close/>
                  <a:moveTo>
                    <a:pt x="216" y="144"/>
                  </a:moveTo>
                  <a:lnTo>
                    <a:pt x="193" y="148"/>
                  </a:lnTo>
                  <a:lnTo>
                    <a:pt x="173" y="158"/>
                  </a:lnTo>
                  <a:lnTo>
                    <a:pt x="158" y="174"/>
                  </a:lnTo>
                  <a:lnTo>
                    <a:pt x="147" y="193"/>
                  </a:lnTo>
                  <a:lnTo>
                    <a:pt x="143" y="217"/>
                  </a:lnTo>
                  <a:lnTo>
                    <a:pt x="143" y="1224"/>
                  </a:lnTo>
                  <a:lnTo>
                    <a:pt x="4156" y="1224"/>
                  </a:lnTo>
                  <a:lnTo>
                    <a:pt x="4156" y="793"/>
                  </a:lnTo>
                  <a:lnTo>
                    <a:pt x="4152" y="769"/>
                  </a:lnTo>
                  <a:lnTo>
                    <a:pt x="4141" y="750"/>
                  </a:lnTo>
                  <a:lnTo>
                    <a:pt x="4126" y="734"/>
                  </a:lnTo>
                  <a:lnTo>
                    <a:pt x="4106" y="724"/>
                  </a:lnTo>
                  <a:lnTo>
                    <a:pt x="4083" y="720"/>
                  </a:lnTo>
                  <a:lnTo>
                    <a:pt x="1864" y="720"/>
                  </a:lnTo>
                  <a:lnTo>
                    <a:pt x="1864" y="217"/>
                  </a:lnTo>
                  <a:lnTo>
                    <a:pt x="1860" y="193"/>
                  </a:lnTo>
                  <a:lnTo>
                    <a:pt x="1850" y="174"/>
                  </a:lnTo>
                  <a:lnTo>
                    <a:pt x="1834" y="158"/>
                  </a:lnTo>
                  <a:lnTo>
                    <a:pt x="1815" y="148"/>
                  </a:lnTo>
                  <a:lnTo>
                    <a:pt x="1791" y="144"/>
                  </a:lnTo>
                  <a:lnTo>
                    <a:pt x="216" y="144"/>
                  </a:lnTo>
                  <a:close/>
                  <a:moveTo>
                    <a:pt x="216" y="0"/>
                  </a:moveTo>
                  <a:lnTo>
                    <a:pt x="1791" y="0"/>
                  </a:lnTo>
                  <a:lnTo>
                    <a:pt x="1830" y="2"/>
                  </a:lnTo>
                  <a:lnTo>
                    <a:pt x="1867" y="13"/>
                  </a:lnTo>
                  <a:lnTo>
                    <a:pt x="1901" y="28"/>
                  </a:lnTo>
                  <a:lnTo>
                    <a:pt x="1931" y="51"/>
                  </a:lnTo>
                  <a:lnTo>
                    <a:pt x="1957" y="77"/>
                  </a:lnTo>
                  <a:lnTo>
                    <a:pt x="1978" y="107"/>
                  </a:lnTo>
                  <a:lnTo>
                    <a:pt x="1994" y="141"/>
                  </a:lnTo>
                  <a:lnTo>
                    <a:pt x="2004" y="178"/>
                  </a:lnTo>
                  <a:lnTo>
                    <a:pt x="2008" y="217"/>
                  </a:lnTo>
                  <a:lnTo>
                    <a:pt x="2008" y="576"/>
                  </a:lnTo>
                  <a:lnTo>
                    <a:pt x="4083" y="576"/>
                  </a:lnTo>
                  <a:lnTo>
                    <a:pt x="4122" y="578"/>
                  </a:lnTo>
                  <a:lnTo>
                    <a:pt x="4158" y="589"/>
                  </a:lnTo>
                  <a:lnTo>
                    <a:pt x="4192" y="604"/>
                  </a:lnTo>
                  <a:lnTo>
                    <a:pt x="4222" y="627"/>
                  </a:lnTo>
                  <a:lnTo>
                    <a:pt x="4248" y="653"/>
                  </a:lnTo>
                  <a:lnTo>
                    <a:pt x="4269" y="683"/>
                  </a:lnTo>
                  <a:lnTo>
                    <a:pt x="4286" y="717"/>
                  </a:lnTo>
                  <a:lnTo>
                    <a:pt x="4295" y="754"/>
                  </a:lnTo>
                  <a:lnTo>
                    <a:pt x="4299" y="793"/>
                  </a:lnTo>
                  <a:lnTo>
                    <a:pt x="4299" y="3598"/>
                  </a:lnTo>
                  <a:lnTo>
                    <a:pt x="4295" y="3636"/>
                  </a:lnTo>
                  <a:lnTo>
                    <a:pt x="4286" y="3674"/>
                  </a:lnTo>
                  <a:lnTo>
                    <a:pt x="4269" y="3707"/>
                  </a:lnTo>
                  <a:lnTo>
                    <a:pt x="4248" y="3738"/>
                  </a:lnTo>
                  <a:lnTo>
                    <a:pt x="4222" y="3765"/>
                  </a:lnTo>
                  <a:lnTo>
                    <a:pt x="4192" y="3786"/>
                  </a:lnTo>
                  <a:lnTo>
                    <a:pt x="4158" y="3801"/>
                  </a:lnTo>
                  <a:lnTo>
                    <a:pt x="4122" y="3812"/>
                  </a:lnTo>
                  <a:lnTo>
                    <a:pt x="4083" y="3816"/>
                  </a:lnTo>
                  <a:lnTo>
                    <a:pt x="216" y="3816"/>
                  </a:lnTo>
                  <a:lnTo>
                    <a:pt x="177" y="3812"/>
                  </a:lnTo>
                  <a:lnTo>
                    <a:pt x="141" y="3801"/>
                  </a:lnTo>
                  <a:lnTo>
                    <a:pt x="107" y="3786"/>
                  </a:lnTo>
                  <a:lnTo>
                    <a:pt x="77" y="3765"/>
                  </a:lnTo>
                  <a:lnTo>
                    <a:pt x="51" y="3738"/>
                  </a:lnTo>
                  <a:lnTo>
                    <a:pt x="30" y="3707"/>
                  </a:lnTo>
                  <a:lnTo>
                    <a:pt x="13" y="3674"/>
                  </a:lnTo>
                  <a:lnTo>
                    <a:pt x="4" y="3636"/>
                  </a:lnTo>
                  <a:lnTo>
                    <a:pt x="0" y="3598"/>
                  </a:lnTo>
                  <a:lnTo>
                    <a:pt x="0" y="217"/>
                  </a:lnTo>
                  <a:lnTo>
                    <a:pt x="4" y="178"/>
                  </a:lnTo>
                  <a:lnTo>
                    <a:pt x="13" y="141"/>
                  </a:lnTo>
                  <a:lnTo>
                    <a:pt x="30" y="107"/>
                  </a:lnTo>
                  <a:lnTo>
                    <a:pt x="51" y="77"/>
                  </a:lnTo>
                  <a:lnTo>
                    <a:pt x="77" y="51"/>
                  </a:lnTo>
                  <a:lnTo>
                    <a:pt x="107" y="28"/>
                  </a:lnTo>
                  <a:lnTo>
                    <a:pt x="141" y="13"/>
                  </a:lnTo>
                  <a:lnTo>
                    <a:pt x="177" y="2"/>
                  </a:lnTo>
                  <a:lnTo>
                    <a:pt x="2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14" name="Freeform 53"/>
            <p:cNvSpPr>
              <a:spLocks/>
            </p:cNvSpPr>
            <p:nvPr/>
          </p:nvSpPr>
          <p:spPr bwMode="auto">
            <a:xfrm>
              <a:off x="5584825" y="5457825"/>
              <a:ext cx="606425" cy="76200"/>
            </a:xfrm>
            <a:custGeom>
              <a:avLst/>
              <a:gdLst>
                <a:gd name="T0" fmla="*/ 71 w 1146"/>
                <a:gd name="T1" fmla="*/ 0 h 144"/>
                <a:gd name="T2" fmla="*/ 1074 w 1146"/>
                <a:gd name="T3" fmla="*/ 0 h 144"/>
                <a:gd name="T4" fmla="*/ 1097 w 1146"/>
                <a:gd name="T5" fmla="*/ 2 h 144"/>
                <a:gd name="T6" fmla="*/ 1116 w 1146"/>
                <a:gd name="T7" fmla="*/ 13 h 144"/>
                <a:gd name="T8" fmla="*/ 1132 w 1146"/>
                <a:gd name="T9" fmla="*/ 28 h 144"/>
                <a:gd name="T10" fmla="*/ 1142 w 1146"/>
                <a:gd name="T11" fmla="*/ 48 h 144"/>
                <a:gd name="T12" fmla="*/ 1146 w 1146"/>
                <a:gd name="T13" fmla="*/ 72 h 144"/>
                <a:gd name="T14" fmla="*/ 1142 w 1146"/>
                <a:gd name="T15" fmla="*/ 94 h 144"/>
                <a:gd name="T16" fmla="*/ 1132 w 1146"/>
                <a:gd name="T17" fmla="*/ 114 h 144"/>
                <a:gd name="T18" fmla="*/ 1116 w 1146"/>
                <a:gd name="T19" fmla="*/ 129 h 144"/>
                <a:gd name="T20" fmla="*/ 1097 w 1146"/>
                <a:gd name="T21" fmla="*/ 140 h 144"/>
                <a:gd name="T22" fmla="*/ 1074 w 1146"/>
                <a:gd name="T23" fmla="*/ 144 h 144"/>
                <a:gd name="T24" fmla="*/ 71 w 1146"/>
                <a:gd name="T25" fmla="*/ 144 h 144"/>
                <a:gd name="T26" fmla="*/ 49 w 1146"/>
                <a:gd name="T27" fmla="*/ 140 h 144"/>
                <a:gd name="T28" fmla="*/ 28 w 1146"/>
                <a:gd name="T29" fmla="*/ 129 h 144"/>
                <a:gd name="T30" fmla="*/ 14 w 1146"/>
                <a:gd name="T31" fmla="*/ 114 h 144"/>
                <a:gd name="T32" fmla="*/ 4 w 1146"/>
                <a:gd name="T33" fmla="*/ 94 h 144"/>
                <a:gd name="T34" fmla="*/ 0 w 1146"/>
                <a:gd name="T35" fmla="*/ 72 h 144"/>
                <a:gd name="T36" fmla="*/ 4 w 1146"/>
                <a:gd name="T37" fmla="*/ 48 h 144"/>
                <a:gd name="T38" fmla="*/ 14 w 1146"/>
                <a:gd name="T39" fmla="*/ 28 h 144"/>
                <a:gd name="T40" fmla="*/ 28 w 1146"/>
                <a:gd name="T41" fmla="*/ 13 h 144"/>
                <a:gd name="T42" fmla="*/ 49 w 1146"/>
                <a:gd name="T43" fmla="*/ 2 h 144"/>
                <a:gd name="T44" fmla="*/ 71 w 1146"/>
                <a:gd name="T4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46" h="144">
                  <a:moveTo>
                    <a:pt x="71" y="0"/>
                  </a:moveTo>
                  <a:lnTo>
                    <a:pt x="1074" y="0"/>
                  </a:lnTo>
                  <a:lnTo>
                    <a:pt x="1097" y="2"/>
                  </a:lnTo>
                  <a:lnTo>
                    <a:pt x="1116" y="13"/>
                  </a:lnTo>
                  <a:lnTo>
                    <a:pt x="1132" y="28"/>
                  </a:lnTo>
                  <a:lnTo>
                    <a:pt x="1142" y="48"/>
                  </a:lnTo>
                  <a:lnTo>
                    <a:pt x="1146" y="72"/>
                  </a:lnTo>
                  <a:lnTo>
                    <a:pt x="1142" y="94"/>
                  </a:lnTo>
                  <a:lnTo>
                    <a:pt x="1132" y="114"/>
                  </a:lnTo>
                  <a:lnTo>
                    <a:pt x="1116" y="129"/>
                  </a:lnTo>
                  <a:lnTo>
                    <a:pt x="1097" y="140"/>
                  </a:lnTo>
                  <a:lnTo>
                    <a:pt x="1074" y="144"/>
                  </a:lnTo>
                  <a:lnTo>
                    <a:pt x="71" y="144"/>
                  </a:lnTo>
                  <a:lnTo>
                    <a:pt x="49" y="140"/>
                  </a:lnTo>
                  <a:lnTo>
                    <a:pt x="28" y="129"/>
                  </a:lnTo>
                  <a:lnTo>
                    <a:pt x="14" y="114"/>
                  </a:lnTo>
                  <a:lnTo>
                    <a:pt x="4" y="94"/>
                  </a:lnTo>
                  <a:lnTo>
                    <a:pt x="0" y="72"/>
                  </a:lnTo>
                  <a:lnTo>
                    <a:pt x="4" y="48"/>
                  </a:lnTo>
                  <a:lnTo>
                    <a:pt x="14" y="28"/>
                  </a:lnTo>
                  <a:lnTo>
                    <a:pt x="28" y="13"/>
                  </a:lnTo>
                  <a:lnTo>
                    <a:pt x="49" y="2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15" name="Freeform 54"/>
            <p:cNvSpPr>
              <a:spLocks/>
            </p:cNvSpPr>
            <p:nvPr/>
          </p:nvSpPr>
          <p:spPr bwMode="auto">
            <a:xfrm>
              <a:off x="5584825" y="5686425"/>
              <a:ext cx="909638" cy="76200"/>
            </a:xfrm>
            <a:custGeom>
              <a:avLst/>
              <a:gdLst>
                <a:gd name="T0" fmla="*/ 71 w 1719"/>
                <a:gd name="T1" fmla="*/ 0 h 144"/>
                <a:gd name="T2" fmla="*/ 1648 w 1719"/>
                <a:gd name="T3" fmla="*/ 0 h 144"/>
                <a:gd name="T4" fmla="*/ 1670 w 1719"/>
                <a:gd name="T5" fmla="*/ 2 h 144"/>
                <a:gd name="T6" fmla="*/ 1691 w 1719"/>
                <a:gd name="T7" fmla="*/ 13 h 144"/>
                <a:gd name="T8" fmla="*/ 1705 w 1719"/>
                <a:gd name="T9" fmla="*/ 28 h 144"/>
                <a:gd name="T10" fmla="*/ 1715 w 1719"/>
                <a:gd name="T11" fmla="*/ 48 h 144"/>
                <a:gd name="T12" fmla="*/ 1719 w 1719"/>
                <a:gd name="T13" fmla="*/ 72 h 144"/>
                <a:gd name="T14" fmla="*/ 1715 w 1719"/>
                <a:gd name="T15" fmla="*/ 94 h 144"/>
                <a:gd name="T16" fmla="*/ 1705 w 1719"/>
                <a:gd name="T17" fmla="*/ 114 h 144"/>
                <a:gd name="T18" fmla="*/ 1691 w 1719"/>
                <a:gd name="T19" fmla="*/ 129 h 144"/>
                <a:gd name="T20" fmla="*/ 1670 w 1719"/>
                <a:gd name="T21" fmla="*/ 140 h 144"/>
                <a:gd name="T22" fmla="*/ 1648 w 1719"/>
                <a:gd name="T23" fmla="*/ 144 h 144"/>
                <a:gd name="T24" fmla="*/ 71 w 1719"/>
                <a:gd name="T25" fmla="*/ 144 h 144"/>
                <a:gd name="T26" fmla="*/ 49 w 1719"/>
                <a:gd name="T27" fmla="*/ 140 h 144"/>
                <a:gd name="T28" fmla="*/ 28 w 1719"/>
                <a:gd name="T29" fmla="*/ 129 h 144"/>
                <a:gd name="T30" fmla="*/ 14 w 1719"/>
                <a:gd name="T31" fmla="*/ 114 h 144"/>
                <a:gd name="T32" fmla="*/ 4 w 1719"/>
                <a:gd name="T33" fmla="*/ 94 h 144"/>
                <a:gd name="T34" fmla="*/ 0 w 1719"/>
                <a:gd name="T35" fmla="*/ 72 h 144"/>
                <a:gd name="T36" fmla="*/ 4 w 1719"/>
                <a:gd name="T37" fmla="*/ 48 h 144"/>
                <a:gd name="T38" fmla="*/ 14 w 1719"/>
                <a:gd name="T39" fmla="*/ 28 h 144"/>
                <a:gd name="T40" fmla="*/ 28 w 1719"/>
                <a:gd name="T41" fmla="*/ 13 h 144"/>
                <a:gd name="T42" fmla="*/ 49 w 1719"/>
                <a:gd name="T43" fmla="*/ 2 h 144"/>
                <a:gd name="T44" fmla="*/ 71 w 1719"/>
                <a:gd name="T4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9" h="144">
                  <a:moveTo>
                    <a:pt x="71" y="0"/>
                  </a:moveTo>
                  <a:lnTo>
                    <a:pt x="1648" y="0"/>
                  </a:lnTo>
                  <a:lnTo>
                    <a:pt x="1670" y="2"/>
                  </a:lnTo>
                  <a:lnTo>
                    <a:pt x="1691" y="13"/>
                  </a:lnTo>
                  <a:lnTo>
                    <a:pt x="1705" y="28"/>
                  </a:lnTo>
                  <a:lnTo>
                    <a:pt x="1715" y="48"/>
                  </a:lnTo>
                  <a:lnTo>
                    <a:pt x="1719" y="72"/>
                  </a:lnTo>
                  <a:lnTo>
                    <a:pt x="1715" y="94"/>
                  </a:lnTo>
                  <a:lnTo>
                    <a:pt x="1705" y="114"/>
                  </a:lnTo>
                  <a:lnTo>
                    <a:pt x="1691" y="129"/>
                  </a:lnTo>
                  <a:lnTo>
                    <a:pt x="1670" y="140"/>
                  </a:lnTo>
                  <a:lnTo>
                    <a:pt x="1648" y="144"/>
                  </a:lnTo>
                  <a:lnTo>
                    <a:pt x="71" y="144"/>
                  </a:lnTo>
                  <a:lnTo>
                    <a:pt x="49" y="140"/>
                  </a:lnTo>
                  <a:lnTo>
                    <a:pt x="28" y="129"/>
                  </a:lnTo>
                  <a:lnTo>
                    <a:pt x="14" y="114"/>
                  </a:lnTo>
                  <a:lnTo>
                    <a:pt x="4" y="94"/>
                  </a:lnTo>
                  <a:lnTo>
                    <a:pt x="0" y="72"/>
                  </a:lnTo>
                  <a:lnTo>
                    <a:pt x="4" y="48"/>
                  </a:lnTo>
                  <a:lnTo>
                    <a:pt x="14" y="28"/>
                  </a:lnTo>
                  <a:lnTo>
                    <a:pt x="28" y="13"/>
                  </a:lnTo>
                  <a:lnTo>
                    <a:pt x="49" y="2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16" name="Freeform 55"/>
            <p:cNvSpPr>
              <a:spLocks/>
            </p:cNvSpPr>
            <p:nvPr/>
          </p:nvSpPr>
          <p:spPr bwMode="auto">
            <a:xfrm>
              <a:off x="5584825" y="5915025"/>
              <a:ext cx="909638" cy="76200"/>
            </a:xfrm>
            <a:custGeom>
              <a:avLst/>
              <a:gdLst>
                <a:gd name="T0" fmla="*/ 71 w 1719"/>
                <a:gd name="T1" fmla="*/ 0 h 144"/>
                <a:gd name="T2" fmla="*/ 1648 w 1719"/>
                <a:gd name="T3" fmla="*/ 0 h 144"/>
                <a:gd name="T4" fmla="*/ 1670 w 1719"/>
                <a:gd name="T5" fmla="*/ 4 h 144"/>
                <a:gd name="T6" fmla="*/ 1691 w 1719"/>
                <a:gd name="T7" fmla="*/ 13 h 144"/>
                <a:gd name="T8" fmla="*/ 1705 w 1719"/>
                <a:gd name="T9" fmla="*/ 28 h 144"/>
                <a:gd name="T10" fmla="*/ 1715 w 1719"/>
                <a:gd name="T11" fmla="*/ 48 h 144"/>
                <a:gd name="T12" fmla="*/ 1719 w 1719"/>
                <a:gd name="T13" fmla="*/ 72 h 144"/>
                <a:gd name="T14" fmla="*/ 1715 w 1719"/>
                <a:gd name="T15" fmla="*/ 94 h 144"/>
                <a:gd name="T16" fmla="*/ 1705 w 1719"/>
                <a:gd name="T17" fmla="*/ 114 h 144"/>
                <a:gd name="T18" fmla="*/ 1691 w 1719"/>
                <a:gd name="T19" fmla="*/ 129 h 144"/>
                <a:gd name="T20" fmla="*/ 1670 w 1719"/>
                <a:gd name="T21" fmla="*/ 140 h 144"/>
                <a:gd name="T22" fmla="*/ 1648 w 1719"/>
                <a:gd name="T23" fmla="*/ 144 h 144"/>
                <a:gd name="T24" fmla="*/ 71 w 1719"/>
                <a:gd name="T25" fmla="*/ 144 h 144"/>
                <a:gd name="T26" fmla="*/ 49 w 1719"/>
                <a:gd name="T27" fmla="*/ 140 h 144"/>
                <a:gd name="T28" fmla="*/ 28 w 1719"/>
                <a:gd name="T29" fmla="*/ 129 h 144"/>
                <a:gd name="T30" fmla="*/ 14 w 1719"/>
                <a:gd name="T31" fmla="*/ 114 h 144"/>
                <a:gd name="T32" fmla="*/ 4 w 1719"/>
                <a:gd name="T33" fmla="*/ 94 h 144"/>
                <a:gd name="T34" fmla="*/ 0 w 1719"/>
                <a:gd name="T35" fmla="*/ 72 h 144"/>
                <a:gd name="T36" fmla="*/ 4 w 1719"/>
                <a:gd name="T37" fmla="*/ 48 h 144"/>
                <a:gd name="T38" fmla="*/ 14 w 1719"/>
                <a:gd name="T39" fmla="*/ 28 h 144"/>
                <a:gd name="T40" fmla="*/ 28 w 1719"/>
                <a:gd name="T41" fmla="*/ 13 h 144"/>
                <a:gd name="T42" fmla="*/ 49 w 1719"/>
                <a:gd name="T43" fmla="*/ 4 h 144"/>
                <a:gd name="T44" fmla="*/ 71 w 1719"/>
                <a:gd name="T4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19" h="144">
                  <a:moveTo>
                    <a:pt x="71" y="0"/>
                  </a:moveTo>
                  <a:lnTo>
                    <a:pt x="1648" y="0"/>
                  </a:lnTo>
                  <a:lnTo>
                    <a:pt x="1670" y="4"/>
                  </a:lnTo>
                  <a:lnTo>
                    <a:pt x="1691" y="13"/>
                  </a:lnTo>
                  <a:lnTo>
                    <a:pt x="1705" y="28"/>
                  </a:lnTo>
                  <a:lnTo>
                    <a:pt x="1715" y="48"/>
                  </a:lnTo>
                  <a:lnTo>
                    <a:pt x="1719" y="72"/>
                  </a:lnTo>
                  <a:lnTo>
                    <a:pt x="1715" y="94"/>
                  </a:lnTo>
                  <a:lnTo>
                    <a:pt x="1705" y="114"/>
                  </a:lnTo>
                  <a:lnTo>
                    <a:pt x="1691" y="129"/>
                  </a:lnTo>
                  <a:lnTo>
                    <a:pt x="1670" y="140"/>
                  </a:lnTo>
                  <a:lnTo>
                    <a:pt x="1648" y="144"/>
                  </a:lnTo>
                  <a:lnTo>
                    <a:pt x="71" y="144"/>
                  </a:lnTo>
                  <a:lnTo>
                    <a:pt x="49" y="140"/>
                  </a:lnTo>
                  <a:lnTo>
                    <a:pt x="28" y="129"/>
                  </a:lnTo>
                  <a:lnTo>
                    <a:pt x="14" y="114"/>
                  </a:lnTo>
                  <a:lnTo>
                    <a:pt x="4" y="94"/>
                  </a:lnTo>
                  <a:lnTo>
                    <a:pt x="0" y="72"/>
                  </a:lnTo>
                  <a:lnTo>
                    <a:pt x="4" y="48"/>
                  </a:lnTo>
                  <a:lnTo>
                    <a:pt x="14" y="28"/>
                  </a:lnTo>
                  <a:lnTo>
                    <a:pt x="28" y="13"/>
                  </a:lnTo>
                  <a:lnTo>
                    <a:pt x="49" y="4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7" name="Group 78"/>
          <p:cNvGrpSpPr/>
          <p:nvPr/>
        </p:nvGrpSpPr>
        <p:grpSpPr>
          <a:xfrm>
            <a:off x="7628743" y="1788420"/>
            <a:ext cx="247763" cy="246531"/>
            <a:chOff x="8589963" y="4062413"/>
            <a:chExt cx="2235200" cy="2224088"/>
          </a:xfrm>
          <a:solidFill>
            <a:sysClr val="window" lastClr="FFFFFF"/>
          </a:solidFill>
        </p:grpSpPr>
        <p:sp>
          <p:nvSpPr>
            <p:cNvPr id="218" name="Freeform 60"/>
            <p:cNvSpPr>
              <a:spLocks noEditPoints="1"/>
            </p:cNvSpPr>
            <p:nvPr/>
          </p:nvSpPr>
          <p:spPr bwMode="auto">
            <a:xfrm>
              <a:off x="8589963" y="4062413"/>
              <a:ext cx="2235200" cy="2224088"/>
            </a:xfrm>
            <a:custGeom>
              <a:avLst/>
              <a:gdLst>
                <a:gd name="T0" fmla="*/ 1736 w 4226"/>
                <a:gd name="T1" fmla="*/ 198 h 4202"/>
                <a:gd name="T2" fmla="*/ 1272 w 4226"/>
                <a:gd name="T3" fmla="*/ 352 h 4202"/>
                <a:gd name="T4" fmla="*/ 868 w 4226"/>
                <a:gd name="T5" fmla="*/ 610 h 4202"/>
                <a:gd name="T6" fmla="*/ 540 w 4226"/>
                <a:gd name="T7" fmla="*/ 956 h 4202"/>
                <a:gd name="T8" fmla="*/ 304 w 4226"/>
                <a:gd name="T9" fmla="*/ 1375 h 4202"/>
                <a:gd name="T10" fmla="*/ 180 w 4226"/>
                <a:gd name="T11" fmla="*/ 1849 h 4202"/>
                <a:gd name="T12" fmla="*/ 180 w 4226"/>
                <a:gd name="T13" fmla="*/ 2354 h 4202"/>
                <a:gd name="T14" fmla="*/ 304 w 4226"/>
                <a:gd name="T15" fmla="*/ 2828 h 4202"/>
                <a:gd name="T16" fmla="*/ 540 w 4226"/>
                <a:gd name="T17" fmla="*/ 3247 h 4202"/>
                <a:gd name="T18" fmla="*/ 868 w 4226"/>
                <a:gd name="T19" fmla="*/ 3593 h 4202"/>
                <a:gd name="T20" fmla="*/ 1272 w 4226"/>
                <a:gd name="T21" fmla="*/ 3851 h 4202"/>
                <a:gd name="T22" fmla="*/ 1736 w 4226"/>
                <a:gd name="T23" fmla="*/ 4005 h 4202"/>
                <a:gd name="T24" fmla="*/ 2241 w 4226"/>
                <a:gd name="T25" fmla="*/ 4036 h 4202"/>
                <a:gd name="T26" fmla="*/ 2729 w 4226"/>
                <a:gd name="T27" fmla="*/ 3942 h 4202"/>
                <a:gd name="T28" fmla="*/ 3164 w 4226"/>
                <a:gd name="T29" fmla="*/ 3734 h 4202"/>
                <a:gd name="T30" fmla="*/ 3534 w 4226"/>
                <a:gd name="T31" fmla="*/ 3430 h 4202"/>
                <a:gd name="T32" fmla="*/ 3817 w 4226"/>
                <a:gd name="T33" fmla="*/ 3045 h 4202"/>
                <a:gd name="T34" fmla="*/ 3998 w 4226"/>
                <a:gd name="T35" fmla="*/ 2596 h 4202"/>
                <a:gd name="T36" fmla="*/ 4063 w 4226"/>
                <a:gd name="T37" fmla="*/ 2101 h 4202"/>
                <a:gd name="T38" fmla="*/ 3998 w 4226"/>
                <a:gd name="T39" fmla="*/ 1606 h 4202"/>
                <a:gd name="T40" fmla="*/ 3817 w 4226"/>
                <a:gd name="T41" fmla="*/ 1158 h 4202"/>
                <a:gd name="T42" fmla="*/ 3534 w 4226"/>
                <a:gd name="T43" fmla="*/ 773 h 4202"/>
                <a:gd name="T44" fmla="*/ 3164 w 4226"/>
                <a:gd name="T45" fmla="*/ 469 h 4202"/>
                <a:gd name="T46" fmla="*/ 2729 w 4226"/>
                <a:gd name="T47" fmla="*/ 261 h 4202"/>
                <a:gd name="T48" fmla="*/ 2241 w 4226"/>
                <a:gd name="T49" fmla="*/ 166 h 4202"/>
                <a:gd name="T50" fmla="*/ 2378 w 4226"/>
                <a:gd name="T51" fmla="*/ 16 h 4202"/>
                <a:gd name="T52" fmla="*/ 2876 w 4226"/>
                <a:gd name="T53" fmla="*/ 141 h 4202"/>
                <a:gd name="T54" fmla="*/ 3319 w 4226"/>
                <a:gd name="T55" fmla="*/ 377 h 4202"/>
                <a:gd name="T56" fmla="*/ 3693 w 4226"/>
                <a:gd name="T57" fmla="*/ 706 h 4202"/>
                <a:gd name="T58" fmla="*/ 3978 w 4226"/>
                <a:gd name="T59" fmla="*/ 1114 h 4202"/>
                <a:gd name="T60" fmla="*/ 4161 w 4226"/>
                <a:gd name="T61" fmla="*/ 1584 h 4202"/>
                <a:gd name="T62" fmla="*/ 4226 w 4226"/>
                <a:gd name="T63" fmla="*/ 2101 h 4202"/>
                <a:gd name="T64" fmla="*/ 4161 w 4226"/>
                <a:gd name="T65" fmla="*/ 2619 h 4202"/>
                <a:gd name="T66" fmla="*/ 3978 w 4226"/>
                <a:gd name="T67" fmla="*/ 3089 h 4202"/>
                <a:gd name="T68" fmla="*/ 3693 w 4226"/>
                <a:gd name="T69" fmla="*/ 3497 h 4202"/>
                <a:gd name="T70" fmla="*/ 3319 w 4226"/>
                <a:gd name="T71" fmla="*/ 3826 h 4202"/>
                <a:gd name="T72" fmla="*/ 2876 w 4226"/>
                <a:gd name="T73" fmla="*/ 4061 h 4202"/>
                <a:gd name="T74" fmla="*/ 2378 w 4226"/>
                <a:gd name="T75" fmla="*/ 4187 h 4202"/>
                <a:gd name="T76" fmla="*/ 1849 w 4226"/>
                <a:gd name="T77" fmla="*/ 4187 h 4202"/>
                <a:gd name="T78" fmla="*/ 1350 w 4226"/>
                <a:gd name="T79" fmla="*/ 4061 h 4202"/>
                <a:gd name="T80" fmla="*/ 906 w 4226"/>
                <a:gd name="T81" fmla="*/ 3826 h 4202"/>
                <a:gd name="T82" fmla="*/ 534 w 4226"/>
                <a:gd name="T83" fmla="*/ 3497 h 4202"/>
                <a:gd name="T84" fmla="*/ 249 w 4226"/>
                <a:gd name="T85" fmla="*/ 3089 h 4202"/>
                <a:gd name="T86" fmla="*/ 65 w 4226"/>
                <a:gd name="T87" fmla="*/ 2619 h 4202"/>
                <a:gd name="T88" fmla="*/ 0 w 4226"/>
                <a:gd name="T89" fmla="*/ 2101 h 4202"/>
                <a:gd name="T90" fmla="*/ 65 w 4226"/>
                <a:gd name="T91" fmla="*/ 1584 h 4202"/>
                <a:gd name="T92" fmla="*/ 249 w 4226"/>
                <a:gd name="T93" fmla="*/ 1114 h 4202"/>
                <a:gd name="T94" fmla="*/ 534 w 4226"/>
                <a:gd name="T95" fmla="*/ 706 h 4202"/>
                <a:gd name="T96" fmla="*/ 906 w 4226"/>
                <a:gd name="T97" fmla="*/ 377 h 4202"/>
                <a:gd name="T98" fmla="*/ 1350 w 4226"/>
                <a:gd name="T99" fmla="*/ 141 h 4202"/>
                <a:gd name="T100" fmla="*/ 1849 w 4226"/>
                <a:gd name="T101" fmla="*/ 16 h 4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26" h="4202">
                  <a:moveTo>
                    <a:pt x="2113" y="162"/>
                  </a:moveTo>
                  <a:lnTo>
                    <a:pt x="1985" y="166"/>
                  </a:lnTo>
                  <a:lnTo>
                    <a:pt x="1859" y="178"/>
                  </a:lnTo>
                  <a:lnTo>
                    <a:pt x="1736" y="198"/>
                  </a:lnTo>
                  <a:lnTo>
                    <a:pt x="1614" y="226"/>
                  </a:lnTo>
                  <a:lnTo>
                    <a:pt x="1498" y="261"/>
                  </a:lnTo>
                  <a:lnTo>
                    <a:pt x="1383" y="303"/>
                  </a:lnTo>
                  <a:lnTo>
                    <a:pt x="1272" y="352"/>
                  </a:lnTo>
                  <a:lnTo>
                    <a:pt x="1164" y="407"/>
                  </a:lnTo>
                  <a:lnTo>
                    <a:pt x="1061" y="469"/>
                  </a:lnTo>
                  <a:lnTo>
                    <a:pt x="962" y="536"/>
                  </a:lnTo>
                  <a:lnTo>
                    <a:pt x="868" y="610"/>
                  </a:lnTo>
                  <a:lnTo>
                    <a:pt x="778" y="689"/>
                  </a:lnTo>
                  <a:lnTo>
                    <a:pt x="693" y="773"/>
                  </a:lnTo>
                  <a:lnTo>
                    <a:pt x="614" y="863"/>
                  </a:lnTo>
                  <a:lnTo>
                    <a:pt x="540" y="956"/>
                  </a:lnTo>
                  <a:lnTo>
                    <a:pt x="472" y="1055"/>
                  </a:lnTo>
                  <a:lnTo>
                    <a:pt x="410" y="1158"/>
                  </a:lnTo>
                  <a:lnTo>
                    <a:pt x="354" y="1264"/>
                  </a:lnTo>
                  <a:lnTo>
                    <a:pt x="304" y="1375"/>
                  </a:lnTo>
                  <a:lnTo>
                    <a:pt x="263" y="1489"/>
                  </a:lnTo>
                  <a:lnTo>
                    <a:pt x="227" y="1606"/>
                  </a:lnTo>
                  <a:lnTo>
                    <a:pt x="200" y="1726"/>
                  </a:lnTo>
                  <a:lnTo>
                    <a:pt x="180" y="1849"/>
                  </a:lnTo>
                  <a:lnTo>
                    <a:pt x="166" y="1974"/>
                  </a:lnTo>
                  <a:lnTo>
                    <a:pt x="162" y="2101"/>
                  </a:lnTo>
                  <a:lnTo>
                    <a:pt x="166" y="2229"/>
                  </a:lnTo>
                  <a:lnTo>
                    <a:pt x="180" y="2354"/>
                  </a:lnTo>
                  <a:lnTo>
                    <a:pt x="200" y="2477"/>
                  </a:lnTo>
                  <a:lnTo>
                    <a:pt x="227" y="2596"/>
                  </a:lnTo>
                  <a:lnTo>
                    <a:pt x="263" y="2714"/>
                  </a:lnTo>
                  <a:lnTo>
                    <a:pt x="304" y="2828"/>
                  </a:lnTo>
                  <a:lnTo>
                    <a:pt x="354" y="2939"/>
                  </a:lnTo>
                  <a:lnTo>
                    <a:pt x="410" y="3045"/>
                  </a:lnTo>
                  <a:lnTo>
                    <a:pt x="472" y="3148"/>
                  </a:lnTo>
                  <a:lnTo>
                    <a:pt x="540" y="3247"/>
                  </a:lnTo>
                  <a:lnTo>
                    <a:pt x="614" y="3340"/>
                  </a:lnTo>
                  <a:lnTo>
                    <a:pt x="693" y="3430"/>
                  </a:lnTo>
                  <a:lnTo>
                    <a:pt x="778" y="3514"/>
                  </a:lnTo>
                  <a:lnTo>
                    <a:pt x="868" y="3593"/>
                  </a:lnTo>
                  <a:lnTo>
                    <a:pt x="962" y="3667"/>
                  </a:lnTo>
                  <a:lnTo>
                    <a:pt x="1061" y="3734"/>
                  </a:lnTo>
                  <a:lnTo>
                    <a:pt x="1164" y="3796"/>
                  </a:lnTo>
                  <a:lnTo>
                    <a:pt x="1272" y="3851"/>
                  </a:lnTo>
                  <a:lnTo>
                    <a:pt x="1383" y="3900"/>
                  </a:lnTo>
                  <a:lnTo>
                    <a:pt x="1498" y="3942"/>
                  </a:lnTo>
                  <a:lnTo>
                    <a:pt x="1614" y="3977"/>
                  </a:lnTo>
                  <a:lnTo>
                    <a:pt x="1736" y="4005"/>
                  </a:lnTo>
                  <a:lnTo>
                    <a:pt x="1859" y="4025"/>
                  </a:lnTo>
                  <a:lnTo>
                    <a:pt x="1985" y="4036"/>
                  </a:lnTo>
                  <a:lnTo>
                    <a:pt x="2113" y="4040"/>
                  </a:lnTo>
                  <a:lnTo>
                    <a:pt x="2241" y="4036"/>
                  </a:lnTo>
                  <a:lnTo>
                    <a:pt x="2368" y="4025"/>
                  </a:lnTo>
                  <a:lnTo>
                    <a:pt x="2491" y="4005"/>
                  </a:lnTo>
                  <a:lnTo>
                    <a:pt x="2611" y="3977"/>
                  </a:lnTo>
                  <a:lnTo>
                    <a:pt x="2729" y="3942"/>
                  </a:lnTo>
                  <a:lnTo>
                    <a:pt x="2843" y="3900"/>
                  </a:lnTo>
                  <a:lnTo>
                    <a:pt x="2954" y="3851"/>
                  </a:lnTo>
                  <a:lnTo>
                    <a:pt x="3061" y="3796"/>
                  </a:lnTo>
                  <a:lnTo>
                    <a:pt x="3164" y="3734"/>
                  </a:lnTo>
                  <a:lnTo>
                    <a:pt x="3264" y="3667"/>
                  </a:lnTo>
                  <a:lnTo>
                    <a:pt x="3359" y="3593"/>
                  </a:lnTo>
                  <a:lnTo>
                    <a:pt x="3449" y="3514"/>
                  </a:lnTo>
                  <a:lnTo>
                    <a:pt x="3534" y="3430"/>
                  </a:lnTo>
                  <a:lnTo>
                    <a:pt x="3613" y="3340"/>
                  </a:lnTo>
                  <a:lnTo>
                    <a:pt x="3686" y="3247"/>
                  </a:lnTo>
                  <a:lnTo>
                    <a:pt x="3755" y="3148"/>
                  </a:lnTo>
                  <a:lnTo>
                    <a:pt x="3817" y="3045"/>
                  </a:lnTo>
                  <a:lnTo>
                    <a:pt x="3873" y="2939"/>
                  </a:lnTo>
                  <a:lnTo>
                    <a:pt x="3922" y="2828"/>
                  </a:lnTo>
                  <a:lnTo>
                    <a:pt x="3964" y="2714"/>
                  </a:lnTo>
                  <a:lnTo>
                    <a:pt x="3998" y="2596"/>
                  </a:lnTo>
                  <a:lnTo>
                    <a:pt x="4026" y="2477"/>
                  </a:lnTo>
                  <a:lnTo>
                    <a:pt x="4047" y="2354"/>
                  </a:lnTo>
                  <a:lnTo>
                    <a:pt x="4059" y="2229"/>
                  </a:lnTo>
                  <a:lnTo>
                    <a:pt x="4063" y="2101"/>
                  </a:lnTo>
                  <a:lnTo>
                    <a:pt x="4059" y="1974"/>
                  </a:lnTo>
                  <a:lnTo>
                    <a:pt x="4047" y="1849"/>
                  </a:lnTo>
                  <a:lnTo>
                    <a:pt x="4026" y="1726"/>
                  </a:lnTo>
                  <a:lnTo>
                    <a:pt x="3998" y="1606"/>
                  </a:lnTo>
                  <a:lnTo>
                    <a:pt x="3964" y="1489"/>
                  </a:lnTo>
                  <a:lnTo>
                    <a:pt x="3922" y="1375"/>
                  </a:lnTo>
                  <a:lnTo>
                    <a:pt x="3873" y="1264"/>
                  </a:lnTo>
                  <a:lnTo>
                    <a:pt x="3817" y="1158"/>
                  </a:lnTo>
                  <a:lnTo>
                    <a:pt x="3755" y="1055"/>
                  </a:lnTo>
                  <a:lnTo>
                    <a:pt x="3686" y="956"/>
                  </a:lnTo>
                  <a:lnTo>
                    <a:pt x="3613" y="863"/>
                  </a:lnTo>
                  <a:lnTo>
                    <a:pt x="3534" y="773"/>
                  </a:lnTo>
                  <a:lnTo>
                    <a:pt x="3449" y="689"/>
                  </a:lnTo>
                  <a:lnTo>
                    <a:pt x="3359" y="610"/>
                  </a:lnTo>
                  <a:lnTo>
                    <a:pt x="3264" y="536"/>
                  </a:lnTo>
                  <a:lnTo>
                    <a:pt x="3164" y="469"/>
                  </a:lnTo>
                  <a:lnTo>
                    <a:pt x="3061" y="407"/>
                  </a:lnTo>
                  <a:lnTo>
                    <a:pt x="2954" y="352"/>
                  </a:lnTo>
                  <a:lnTo>
                    <a:pt x="2843" y="303"/>
                  </a:lnTo>
                  <a:lnTo>
                    <a:pt x="2729" y="261"/>
                  </a:lnTo>
                  <a:lnTo>
                    <a:pt x="2611" y="226"/>
                  </a:lnTo>
                  <a:lnTo>
                    <a:pt x="2491" y="198"/>
                  </a:lnTo>
                  <a:lnTo>
                    <a:pt x="2368" y="178"/>
                  </a:lnTo>
                  <a:lnTo>
                    <a:pt x="2241" y="166"/>
                  </a:lnTo>
                  <a:lnTo>
                    <a:pt x="2113" y="162"/>
                  </a:lnTo>
                  <a:close/>
                  <a:moveTo>
                    <a:pt x="2113" y="0"/>
                  </a:moveTo>
                  <a:lnTo>
                    <a:pt x="2247" y="4"/>
                  </a:lnTo>
                  <a:lnTo>
                    <a:pt x="2378" y="16"/>
                  </a:lnTo>
                  <a:lnTo>
                    <a:pt x="2507" y="36"/>
                  </a:lnTo>
                  <a:lnTo>
                    <a:pt x="2632" y="65"/>
                  </a:lnTo>
                  <a:lnTo>
                    <a:pt x="2755" y="99"/>
                  </a:lnTo>
                  <a:lnTo>
                    <a:pt x="2876" y="141"/>
                  </a:lnTo>
                  <a:lnTo>
                    <a:pt x="2992" y="191"/>
                  </a:lnTo>
                  <a:lnTo>
                    <a:pt x="3106" y="247"/>
                  </a:lnTo>
                  <a:lnTo>
                    <a:pt x="3215" y="309"/>
                  </a:lnTo>
                  <a:lnTo>
                    <a:pt x="3319" y="377"/>
                  </a:lnTo>
                  <a:lnTo>
                    <a:pt x="3420" y="451"/>
                  </a:lnTo>
                  <a:lnTo>
                    <a:pt x="3515" y="531"/>
                  </a:lnTo>
                  <a:lnTo>
                    <a:pt x="3607" y="617"/>
                  </a:lnTo>
                  <a:lnTo>
                    <a:pt x="3693" y="706"/>
                  </a:lnTo>
                  <a:lnTo>
                    <a:pt x="3772" y="802"/>
                  </a:lnTo>
                  <a:lnTo>
                    <a:pt x="3847" y="902"/>
                  </a:lnTo>
                  <a:lnTo>
                    <a:pt x="3916" y="1006"/>
                  </a:lnTo>
                  <a:lnTo>
                    <a:pt x="3978" y="1114"/>
                  </a:lnTo>
                  <a:lnTo>
                    <a:pt x="4034" y="1227"/>
                  </a:lnTo>
                  <a:lnTo>
                    <a:pt x="4083" y="1343"/>
                  </a:lnTo>
                  <a:lnTo>
                    <a:pt x="4127" y="1462"/>
                  </a:lnTo>
                  <a:lnTo>
                    <a:pt x="4161" y="1584"/>
                  </a:lnTo>
                  <a:lnTo>
                    <a:pt x="4189" y="1710"/>
                  </a:lnTo>
                  <a:lnTo>
                    <a:pt x="4210" y="1838"/>
                  </a:lnTo>
                  <a:lnTo>
                    <a:pt x="4222" y="1968"/>
                  </a:lnTo>
                  <a:lnTo>
                    <a:pt x="4226" y="2101"/>
                  </a:lnTo>
                  <a:lnTo>
                    <a:pt x="4222" y="2234"/>
                  </a:lnTo>
                  <a:lnTo>
                    <a:pt x="4210" y="2365"/>
                  </a:lnTo>
                  <a:lnTo>
                    <a:pt x="4189" y="2492"/>
                  </a:lnTo>
                  <a:lnTo>
                    <a:pt x="4161" y="2619"/>
                  </a:lnTo>
                  <a:lnTo>
                    <a:pt x="4127" y="2741"/>
                  </a:lnTo>
                  <a:lnTo>
                    <a:pt x="4083" y="2860"/>
                  </a:lnTo>
                  <a:lnTo>
                    <a:pt x="4034" y="2977"/>
                  </a:lnTo>
                  <a:lnTo>
                    <a:pt x="3978" y="3089"/>
                  </a:lnTo>
                  <a:lnTo>
                    <a:pt x="3916" y="3197"/>
                  </a:lnTo>
                  <a:lnTo>
                    <a:pt x="3847" y="3301"/>
                  </a:lnTo>
                  <a:lnTo>
                    <a:pt x="3772" y="3401"/>
                  </a:lnTo>
                  <a:lnTo>
                    <a:pt x="3693" y="3497"/>
                  </a:lnTo>
                  <a:lnTo>
                    <a:pt x="3607" y="3586"/>
                  </a:lnTo>
                  <a:lnTo>
                    <a:pt x="3515" y="3672"/>
                  </a:lnTo>
                  <a:lnTo>
                    <a:pt x="3420" y="3752"/>
                  </a:lnTo>
                  <a:lnTo>
                    <a:pt x="3319" y="3826"/>
                  </a:lnTo>
                  <a:lnTo>
                    <a:pt x="3215" y="3894"/>
                  </a:lnTo>
                  <a:lnTo>
                    <a:pt x="3106" y="3956"/>
                  </a:lnTo>
                  <a:lnTo>
                    <a:pt x="2992" y="4011"/>
                  </a:lnTo>
                  <a:lnTo>
                    <a:pt x="2876" y="4061"/>
                  </a:lnTo>
                  <a:lnTo>
                    <a:pt x="2755" y="4104"/>
                  </a:lnTo>
                  <a:lnTo>
                    <a:pt x="2632" y="4139"/>
                  </a:lnTo>
                  <a:lnTo>
                    <a:pt x="2507" y="4167"/>
                  </a:lnTo>
                  <a:lnTo>
                    <a:pt x="2378" y="4187"/>
                  </a:lnTo>
                  <a:lnTo>
                    <a:pt x="2247" y="4198"/>
                  </a:lnTo>
                  <a:lnTo>
                    <a:pt x="2113" y="4202"/>
                  </a:lnTo>
                  <a:lnTo>
                    <a:pt x="1980" y="4198"/>
                  </a:lnTo>
                  <a:lnTo>
                    <a:pt x="1849" y="4187"/>
                  </a:lnTo>
                  <a:lnTo>
                    <a:pt x="1719" y="4167"/>
                  </a:lnTo>
                  <a:lnTo>
                    <a:pt x="1593" y="4139"/>
                  </a:lnTo>
                  <a:lnTo>
                    <a:pt x="1470" y="4104"/>
                  </a:lnTo>
                  <a:lnTo>
                    <a:pt x="1350" y="4061"/>
                  </a:lnTo>
                  <a:lnTo>
                    <a:pt x="1233" y="4011"/>
                  </a:lnTo>
                  <a:lnTo>
                    <a:pt x="1121" y="3956"/>
                  </a:lnTo>
                  <a:lnTo>
                    <a:pt x="1012" y="3894"/>
                  </a:lnTo>
                  <a:lnTo>
                    <a:pt x="906" y="3826"/>
                  </a:lnTo>
                  <a:lnTo>
                    <a:pt x="806" y="3752"/>
                  </a:lnTo>
                  <a:lnTo>
                    <a:pt x="710" y="3672"/>
                  </a:lnTo>
                  <a:lnTo>
                    <a:pt x="619" y="3586"/>
                  </a:lnTo>
                  <a:lnTo>
                    <a:pt x="534" y="3497"/>
                  </a:lnTo>
                  <a:lnTo>
                    <a:pt x="454" y="3401"/>
                  </a:lnTo>
                  <a:lnTo>
                    <a:pt x="380" y="3301"/>
                  </a:lnTo>
                  <a:lnTo>
                    <a:pt x="311" y="3197"/>
                  </a:lnTo>
                  <a:lnTo>
                    <a:pt x="249" y="3089"/>
                  </a:lnTo>
                  <a:lnTo>
                    <a:pt x="192" y="2977"/>
                  </a:lnTo>
                  <a:lnTo>
                    <a:pt x="143" y="2860"/>
                  </a:lnTo>
                  <a:lnTo>
                    <a:pt x="100" y="2741"/>
                  </a:lnTo>
                  <a:lnTo>
                    <a:pt x="65" y="2619"/>
                  </a:lnTo>
                  <a:lnTo>
                    <a:pt x="37" y="2492"/>
                  </a:lnTo>
                  <a:lnTo>
                    <a:pt x="17" y="2365"/>
                  </a:lnTo>
                  <a:lnTo>
                    <a:pt x="5" y="2234"/>
                  </a:lnTo>
                  <a:lnTo>
                    <a:pt x="0" y="2101"/>
                  </a:lnTo>
                  <a:lnTo>
                    <a:pt x="5" y="1968"/>
                  </a:lnTo>
                  <a:lnTo>
                    <a:pt x="17" y="1838"/>
                  </a:lnTo>
                  <a:lnTo>
                    <a:pt x="37" y="1710"/>
                  </a:lnTo>
                  <a:lnTo>
                    <a:pt x="65" y="1584"/>
                  </a:lnTo>
                  <a:lnTo>
                    <a:pt x="100" y="1462"/>
                  </a:lnTo>
                  <a:lnTo>
                    <a:pt x="143" y="1343"/>
                  </a:lnTo>
                  <a:lnTo>
                    <a:pt x="192" y="1227"/>
                  </a:lnTo>
                  <a:lnTo>
                    <a:pt x="249" y="1114"/>
                  </a:lnTo>
                  <a:lnTo>
                    <a:pt x="311" y="1006"/>
                  </a:lnTo>
                  <a:lnTo>
                    <a:pt x="380" y="902"/>
                  </a:lnTo>
                  <a:lnTo>
                    <a:pt x="454" y="802"/>
                  </a:lnTo>
                  <a:lnTo>
                    <a:pt x="534" y="706"/>
                  </a:lnTo>
                  <a:lnTo>
                    <a:pt x="619" y="617"/>
                  </a:lnTo>
                  <a:lnTo>
                    <a:pt x="710" y="531"/>
                  </a:lnTo>
                  <a:lnTo>
                    <a:pt x="806" y="451"/>
                  </a:lnTo>
                  <a:lnTo>
                    <a:pt x="906" y="377"/>
                  </a:lnTo>
                  <a:lnTo>
                    <a:pt x="1012" y="309"/>
                  </a:lnTo>
                  <a:lnTo>
                    <a:pt x="1121" y="247"/>
                  </a:lnTo>
                  <a:lnTo>
                    <a:pt x="1233" y="191"/>
                  </a:lnTo>
                  <a:lnTo>
                    <a:pt x="1350" y="141"/>
                  </a:lnTo>
                  <a:lnTo>
                    <a:pt x="1470" y="99"/>
                  </a:lnTo>
                  <a:lnTo>
                    <a:pt x="1593" y="65"/>
                  </a:lnTo>
                  <a:lnTo>
                    <a:pt x="1719" y="36"/>
                  </a:lnTo>
                  <a:lnTo>
                    <a:pt x="1849" y="16"/>
                  </a:lnTo>
                  <a:lnTo>
                    <a:pt x="1980" y="4"/>
                  </a:lnTo>
                  <a:lnTo>
                    <a:pt x="211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19" name="Freeform 61"/>
            <p:cNvSpPr>
              <a:spLocks/>
            </p:cNvSpPr>
            <p:nvPr/>
          </p:nvSpPr>
          <p:spPr bwMode="auto">
            <a:xfrm>
              <a:off x="9105901" y="4703763"/>
              <a:ext cx="1203325" cy="855663"/>
            </a:xfrm>
            <a:custGeom>
              <a:avLst/>
              <a:gdLst>
                <a:gd name="T0" fmla="*/ 2189 w 2275"/>
                <a:gd name="T1" fmla="*/ 0 h 1616"/>
                <a:gd name="T2" fmla="*/ 2211 w 2275"/>
                <a:gd name="T3" fmla="*/ 1 h 1616"/>
                <a:gd name="T4" fmla="*/ 2230 w 2275"/>
                <a:gd name="T5" fmla="*/ 8 h 1616"/>
                <a:gd name="T6" fmla="*/ 2248 w 2275"/>
                <a:gd name="T7" fmla="*/ 20 h 1616"/>
                <a:gd name="T8" fmla="*/ 2262 w 2275"/>
                <a:gd name="T9" fmla="*/ 37 h 1616"/>
                <a:gd name="T10" fmla="*/ 2271 w 2275"/>
                <a:gd name="T11" fmla="*/ 55 h 1616"/>
                <a:gd name="T12" fmla="*/ 2275 w 2275"/>
                <a:gd name="T13" fmla="*/ 75 h 1616"/>
                <a:gd name="T14" fmla="*/ 2274 w 2275"/>
                <a:gd name="T15" fmla="*/ 96 h 1616"/>
                <a:gd name="T16" fmla="*/ 2268 w 2275"/>
                <a:gd name="T17" fmla="*/ 116 h 1616"/>
                <a:gd name="T18" fmla="*/ 2256 w 2275"/>
                <a:gd name="T19" fmla="*/ 134 h 1616"/>
                <a:gd name="T20" fmla="*/ 956 w 2275"/>
                <a:gd name="T21" fmla="*/ 1589 h 1616"/>
                <a:gd name="T22" fmla="*/ 937 w 2275"/>
                <a:gd name="T23" fmla="*/ 1603 h 1616"/>
                <a:gd name="T24" fmla="*/ 916 w 2275"/>
                <a:gd name="T25" fmla="*/ 1612 h 1616"/>
                <a:gd name="T26" fmla="*/ 894 w 2275"/>
                <a:gd name="T27" fmla="*/ 1616 h 1616"/>
                <a:gd name="T28" fmla="*/ 876 w 2275"/>
                <a:gd name="T29" fmla="*/ 1614 h 1616"/>
                <a:gd name="T30" fmla="*/ 859 w 2275"/>
                <a:gd name="T31" fmla="*/ 1608 h 1616"/>
                <a:gd name="T32" fmla="*/ 843 w 2275"/>
                <a:gd name="T33" fmla="*/ 1598 h 1616"/>
                <a:gd name="T34" fmla="*/ 31 w 2275"/>
                <a:gd name="T35" fmla="*/ 952 h 1616"/>
                <a:gd name="T36" fmla="*/ 16 w 2275"/>
                <a:gd name="T37" fmla="*/ 936 h 1616"/>
                <a:gd name="T38" fmla="*/ 5 w 2275"/>
                <a:gd name="T39" fmla="*/ 917 h 1616"/>
                <a:gd name="T40" fmla="*/ 0 w 2275"/>
                <a:gd name="T41" fmla="*/ 898 h 1616"/>
                <a:gd name="T42" fmla="*/ 2 w 2275"/>
                <a:gd name="T43" fmla="*/ 877 h 1616"/>
                <a:gd name="T44" fmla="*/ 7 w 2275"/>
                <a:gd name="T45" fmla="*/ 857 h 1616"/>
                <a:gd name="T46" fmla="*/ 17 w 2275"/>
                <a:gd name="T47" fmla="*/ 838 h 1616"/>
                <a:gd name="T48" fmla="*/ 33 w 2275"/>
                <a:gd name="T49" fmla="*/ 823 h 1616"/>
                <a:gd name="T50" fmla="*/ 52 w 2275"/>
                <a:gd name="T51" fmla="*/ 813 h 1616"/>
                <a:gd name="T52" fmla="*/ 73 w 2275"/>
                <a:gd name="T53" fmla="*/ 808 h 1616"/>
                <a:gd name="T54" fmla="*/ 93 w 2275"/>
                <a:gd name="T55" fmla="*/ 808 h 1616"/>
                <a:gd name="T56" fmla="*/ 114 w 2275"/>
                <a:gd name="T57" fmla="*/ 815 h 1616"/>
                <a:gd name="T58" fmla="*/ 133 w 2275"/>
                <a:gd name="T59" fmla="*/ 825 h 1616"/>
                <a:gd name="T60" fmla="*/ 884 w 2275"/>
                <a:gd name="T61" fmla="*/ 1424 h 1616"/>
                <a:gd name="T62" fmla="*/ 2134 w 2275"/>
                <a:gd name="T63" fmla="*/ 26 h 1616"/>
                <a:gd name="T64" fmla="*/ 2150 w 2275"/>
                <a:gd name="T65" fmla="*/ 13 h 1616"/>
                <a:gd name="T66" fmla="*/ 2170 w 2275"/>
                <a:gd name="T67" fmla="*/ 4 h 1616"/>
                <a:gd name="T68" fmla="*/ 2189 w 2275"/>
                <a:gd name="T69" fmla="*/ 0 h 1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275" h="1616">
                  <a:moveTo>
                    <a:pt x="2189" y="0"/>
                  </a:moveTo>
                  <a:lnTo>
                    <a:pt x="2211" y="1"/>
                  </a:lnTo>
                  <a:lnTo>
                    <a:pt x="2230" y="8"/>
                  </a:lnTo>
                  <a:lnTo>
                    <a:pt x="2248" y="20"/>
                  </a:lnTo>
                  <a:lnTo>
                    <a:pt x="2262" y="37"/>
                  </a:lnTo>
                  <a:lnTo>
                    <a:pt x="2271" y="55"/>
                  </a:lnTo>
                  <a:lnTo>
                    <a:pt x="2275" y="75"/>
                  </a:lnTo>
                  <a:lnTo>
                    <a:pt x="2274" y="96"/>
                  </a:lnTo>
                  <a:lnTo>
                    <a:pt x="2268" y="116"/>
                  </a:lnTo>
                  <a:lnTo>
                    <a:pt x="2256" y="134"/>
                  </a:lnTo>
                  <a:lnTo>
                    <a:pt x="956" y="1589"/>
                  </a:lnTo>
                  <a:lnTo>
                    <a:pt x="937" y="1603"/>
                  </a:lnTo>
                  <a:lnTo>
                    <a:pt x="916" y="1612"/>
                  </a:lnTo>
                  <a:lnTo>
                    <a:pt x="894" y="1616"/>
                  </a:lnTo>
                  <a:lnTo>
                    <a:pt x="876" y="1614"/>
                  </a:lnTo>
                  <a:lnTo>
                    <a:pt x="859" y="1608"/>
                  </a:lnTo>
                  <a:lnTo>
                    <a:pt x="843" y="1598"/>
                  </a:lnTo>
                  <a:lnTo>
                    <a:pt x="31" y="952"/>
                  </a:lnTo>
                  <a:lnTo>
                    <a:pt x="16" y="936"/>
                  </a:lnTo>
                  <a:lnTo>
                    <a:pt x="5" y="917"/>
                  </a:lnTo>
                  <a:lnTo>
                    <a:pt x="0" y="898"/>
                  </a:lnTo>
                  <a:lnTo>
                    <a:pt x="2" y="877"/>
                  </a:lnTo>
                  <a:lnTo>
                    <a:pt x="7" y="857"/>
                  </a:lnTo>
                  <a:lnTo>
                    <a:pt x="17" y="838"/>
                  </a:lnTo>
                  <a:lnTo>
                    <a:pt x="33" y="823"/>
                  </a:lnTo>
                  <a:lnTo>
                    <a:pt x="52" y="813"/>
                  </a:lnTo>
                  <a:lnTo>
                    <a:pt x="73" y="808"/>
                  </a:lnTo>
                  <a:lnTo>
                    <a:pt x="93" y="808"/>
                  </a:lnTo>
                  <a:lnTo>
                    <a:pt x="114" y="815"/>
                  </a:lnTo>
                  <a:lnTo>
                    <a:pt x="133" y="825"/>
                  </a:lnTo>
                  <a:lnTo>
                    <a:pt x="884" y="1424"/>
                  </a:lnTo>
                  <a:lnTo>
                    <a:pt x="2134" y="26"/>
                  </a:lnTo>
                  <a:lnTo>
                    <a:pt x="2150" y="13"/>
                  </a:lnTo>
                  <a:lnTo>
                    <a:pt x="2170" y="4"/>
                  </a:lnTo>
                  <a:lnTo>
                    <a:pt x="218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898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83173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9525" y="352981"/>
            <a:ext cx="7489825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895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r-T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defTabSz="895350"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89535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kern="0" dirty="0" smtClean="0">
              <a:solidFill>
                <a:prstClr val="black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2" name="Slayt Numarası Yer Tutucusu 1"/>
          <p:cNvSpPr>
            <a:spLocks noGrp="1"/>
          </p:cNvSpPr>
          <p:nvPr>
            <p:ph type="sldNum" sz="quarter" idx="12"/>
          </p:nvPr>
        </p:nvSpPr>
        <p:spPr>
          <a:xfrm>
            <a:off x="6890568" y="6378495"/>
            <a:ext cx="2253431" cy="365125"/>
          </a:xfrm>
        </p:spPr>
        <p:txBody>
          <a:bodyPr/>
          <a:lstStyle/>
          <a:p>
            <a:fld id="{B1DEFA8C-F947-479F-BE07-76B6B3F80BF1}" type="slidenum">
              <a:rPr lang="tr-TR" sz="16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 lang="tr-TR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293673" y="489353"/>
            <a:ext cx="546083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tr-TR"/>
            </a:defPPr>
            <a:lvl1pPr algn="ctr">
              <a:defRPr b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algn="l"/>
            <a:r>
              <a:rPr lang="tr-TR" sz="3000" dirty="0" smtClean="0">
                <a:solidFill>
                  <a:srgbClr val="002060"/>
                </a:solidFill>
              </a:rPr>
              <a:t>Ne Bekliyoruz</a:t>
            </a:r>
            <a:endParaRPr lang="tr-TR" sz="3000" dirty="0">
              <a:solidFill>
                <a:srgbClr val="002060"/>
              </a:solidFill>
            </a:endParaRPr>
          </a:p>
        </p:txBody>
      </p:sp>
      <p:pic>
        <p:nvPicPr>
          <p:cNvPr id="7" name="Resim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52" y="1500259"/>
            <a:ext cx="1260992" cy="1260992"/>
          </a:xfrm>
          <a:prstGeom prst="rect">
            <a:avLst/>
          </a:prstGeom>
        </p:spPr>
      </p:pic>
      <p:sp>
        <p:nvSpPr>
          <p:cNvPr id="8" name="Metin kutusu 7"/>
          <p:cNvSpPr txBox="1"/>
          <p:nvPr/>
        </p:nvSpPr>
        <p:spPr>
          <a:xfrm>
            <a:off x="2339752" y="2652387"/>
            <a:ext cx="1260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ğişim</a:t>
            </a: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4" name="Resim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1935" y="4377811"/>
            <a:ext cx="1260992" cy="1260992"/>
          </a:xfrm>
          <a:prstGeom prst="rect">
            <a:avLst/>
          </a:prstGeom>
        </p:spPr>
      </p:pic>
      <p:sp>
        <p:nvSpPr>
          <p:cNvPr id="15" name="Metin kutusu 14"/>
          <p:cNvSpPr txBox="1"/>
          <p:nvPr/>
        </p:nvSpPr>
        <p:spPr>
          <a:xfrm>
            <a:off x="5031935" y="5529939"/>
            <a:ext cx="12609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üksek Potansiyel</a:t>
            </a: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6" name="Resim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4476" y="4634539"/>
            <a:ext cx="1260992" cy="1260992"/>
          </a:xfrm>
          <a:prstGeom prst="rect">
            <a:avLst/>
          </a:prstGeom>
        </p:spPr>
      </p:pic>
      <p:sp>
        <p:nvSpPr>
          <p:cNvPr id="17" name="Metin kutusu 16"/>
          <p:cNvSpPr txBox="1"/>
          <p:nvPr/>
        </p:nvSpPr>
        <p:spPr>
          <a:xfrm>
            <a:off x="2504476" y="5786667"/>
            <a:ext cx="1260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erji</a:t>
            </a: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8" name="Resim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4014" y="1447779"/>
            <a:ext cx="1260992" cy="1260992"/>
          </a:xfrm>
          <a:prstGeom prst="rect">
            <a:avLst/>
          </a:prstGeom>
        </p:spPr>
      </p:pic>
      <p:sp>
        <p:nvSpPr>
          <p:cNvPr id="19" name="Metin kutusu 18"/>
          <p:cNvSpPr txBox="1"/>
          <p:nvPr/>
        </p:nvSpPr>
        <p:spPr>
          <a:xfrm>
            <a:off x="5124014" y="2664886"/>
            <a:ext cx="1260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 err="1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İnovasyon</a:t>
            </a: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1" name="Resim 2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6702" y="2996952"/>
            <a:ext cx="1260992" cy="1260992"/>
          </a:xfrm>
          <a:prstGeom prst="rect">
            <a:avLst/>
          </a:prstGeom>
        </p:spPr>
      </p:pic>
      <p:sp>
        <p:nvSpPr>
          <p:cNvPr id="22" name="Metin kutusu 21"/>
          <p:cNvSpPr txBox="1"/>
          <p:nvPr/>
        </p:nvSpPr>
        <p:spPr>
          <a:xfrm>
            <a:off x="1276702" y="4149080"/>
            <a:ext cx="1260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aratıcılık</a:t>
            </a: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3" name="Resim 2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0943" y="2996952"/>
            <a:ext cx="1260992" cy="1260992"/>
          </a:xfrm>
          <a:prstGeom prst="rect">
            <a:avLst/>
          </a:prstGeom>
        </p:spPr>
      </p:pic>
      <p:sp>
        <p:nvSpPr>
          <p:cNvPr id="24" name="Metin kutusu 23"/>
          <p:cNvSpPr txBox="1"/>
          <p:nvPr/>
        </p:nvSpPr>
        <p:spPr>
          <a:xfrm>
            <a:off x="3770943" y="4149080"/>
            <a:ext cx="1260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Öneri</a:t>
            </a: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1" name="Resim 3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3336" y="3039974"/>
            <a:ext cx="1260992" cy="1260992"/>
          </a:xfrm>
          <a:prstGeom prst="rect">
            <a:avLst/>
          </a:prstGeom>
        </p:spPr>
      </p:pic>
      <p:sp>
        <p:nvSpPr>
          <p:cNvPr id="32" name="Metin kutusu 31"/>
          <p:cNvSpPr txBox="1"/>
          <p:nvPr/>
        </p:nvSpPr>
        <p:spPr>
          <a:xfrm>
            <a:off x="6263336" y="4192102"/>
            <a:ext cx="12609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rklı Bakış Açısı</a:t>
            </a: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0954659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9525" y="352981"/>
            <a:ext cx="7489825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895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r-TR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defTabSz="895350"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89535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kern="0" dirty="0" smtClean="0">
              <a:solidFill>
                <a:prstClr val="black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2" name="Slayt Numarası Yer Tutucusu 1"/>
          <p:cNvSpPr>
            <a:spLocks noGrp="1"/>
          </p:cNvSpPr>
          <p:nvPr>
            <p:ph type="sldNum" sz="quarter" idx="12"/>
          </p:nvPr>
        </p:nvSpPr>
        <p:spPr>
          <a:xfrm>
            <a:off x="6890568" y="6378495"/>
            <a:ext cx="2253431" cy="365125"/>
          </a:xfrm>
        </p:spPr>
        <p:txBody>
          <a:bodyPr/>
          <a:lstStyle/>
          <a:p>
            <a:fld id="{B1DEFA8C-F947-479F-BE07-76B6B3F80BF1}" type="slidenum">
              <a:rPr lang="tr-TR" sz="16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tr-TR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293673" y="489353"/>
            <a:ext cx="546083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tr-TR"/>
            </a:defPPr>
            <a:lvl1pPr algn="ctr">
              <a:defRPr b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algn="l"/>
            <a:r>
              <a:rPr lang="tr-TR" sz="3000" dirty="0" smtClean="0">
                <a:solidFill>
                  <a:srgbClr val="002060"/>
                </a:solidFill>
              </a:rPr>
              <a:t>Ne </a:t>
            </a:r>
            <a:r>
              <a:rPr lang="tr-TR" sz="3000" dirty="0">
                <a:solidFill>
                  <a:srgbClr val="002060"/>
                </a:solidFill>
              </a:rPr>
              <a:t>Sunuyoruz</a:t>
            </a:r>
          </a:p>
        </p:txBody>
      </p:sp>
      <p:pic>
        <p:nvPicPr>
          <p:cNvPr id="7" name="Resim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4963" y="4478085"/>
            <a:ext cx="1260992" cy="1260992"/>
          </a:xfrm>
          <a:prstGeom prst="rect">
            <a:avLst/>
          </a:prstGeom>
        </p:spPr>
      </p:pic>
      <p:sp>
        <p:nvSpPr>
          <p:cNvPr id="8" name="Metin kutusu 7"/>
          <p:cNvSpPr txBox="1"/>
          <p:nvPr/>
        </p:nvSpPr>
        <p:spPr>
          <a:xfrm>
            <a:off x="2446353" y="5662989"/>
            <a:ext cx="16182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 err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rt</a:t>
            </a:r>
            <a:r>
              <a:rPr lang="tr-TR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ime </a:t>
            </a:r>
            <a:r>
              <a:rPr lang="tr-TR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Çalışma İmkanı</a:t>
            </a: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4" name="Resim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246" y="1342285"/>
            <a:ext cx="1260992" cy="1260992"/>
          </a:xfrm>
          <a:prstGeom prst="rect">
            <a:avLst/>
          </a:prstGeom>
        </p:spPr>
      </p:pic>
      <p:sp>
        <p:nvSpPr>
          <p:cNvPr id="15" name="Metin kutusu 14"/>
          <p:cNvSpPr txBox="1"/>
          <p:nvPr/>
        </p:nvSpPr>
        <p:spPr>
          <a:xfrm>
            <a:off x="2470246" y="2494413"/>
            <a:ext cx="14401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knik </a:t>
            </a:r>
            <a:r>
              <a:rPr lang="tr-TR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ğitim Süreci</a:t>
            </a:r>
          </a:p>
        </p:txBody>
      </p:sp>
      <p:pic>
        <p:nvPicPr>
          <p:cNvPr id="16" name="Resim 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5586" y="1342285"/>
            <a:ext cx="1260992" cy="1260992"/>
          </a:xfrm>
          <a:prstGeom prst="rect">
            <a:avLst/>
          </a:prstGeom>
        </p:spPr>
      </p:pic>
      <p:sp>
        <p:nvSpPr>
          <p:cNvPr id="17" name="Metin kutusu 16"/>
          <p:cNvSpPr txBox="1"/>
          <p:nvPr/>
        </p:nvSpPr>
        <p:spPr>
          <a:xfrm>
            <a:off x="4716016" y="2494413"/>
            <a:ext cx="17226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ktörü Tanıma Fırsatı</a:t>
            </a:r>
          </a:p>
        </p:txBody>
      </p:sp>
      <p:pic>
        <p:nvPicPr>
          <p:cNvPr id="18" name="Resim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4014" y="4369133"/>
            <a:ext cx="1260992" cy="1260992"/>
          </a:xfrm>
          <a:prstGeom prst="rect">
            <a:avLst/>
          </a:prstGeom>
        </p:spPr>
      </p:pic>
      <p:sp>
        <p:nvSpPr>
          <p:cNvPr id="19" name="Metin kutusu 18"/>
          <p:cNvSpPr txBox="1"/>
          <p:nvPr/>
        </p:nvSpPr>
        <p:spPr>
          <a:xfrm>
            <a:off x="4865585" y="5586240"/>
            <a:ext cx="18666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zun Olmadan Deneyim</a:t>
            </a: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1" name="Resim 2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981" y="2827513"/>
            <a:ext cx="1260992" cy="1260992"/>
          </a:xfrm>
          <a:prstGeom prst="rect">
            <a:avLst/>
          </a:prstGeom>
        </p:spPr>
      </p:pic>
      <p:sp>
        <p:nvSpPr>
          <p:cNvPr id="22" name="Metin kutusu 21"/>
          <p:cNvSpPr txBox="1"/>
          <p:nvPr/>
        </p:nvSpPr>
        <p:spPr>
          <a:xfrm>
            <a:off x="1213435" y="3979641"/>
            <a:ext cx="15583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ğitim Koçları ile </a:t>
            </a:r>
            <a:r>
              <a:rPr lang="tr-TR" b="1" dirty="0" err="1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ntörlük</a:t>
            </a: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3" name="Resim 2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238" y="2803803"/>
            <a:ext cx="1260992" cy="1260992"/>
          </a:xfrm>
          <a:prstGeom prst="rect">
            <a:avLst/>
          </a:prstGeom>
        </p:spPr>
      </p:pic>
      <p:sp>
        <p:nvSpPr>
          <p:cNvPr id="24" name="Metin kutusu 23"/>
          <p:cNvSpPr txBox="1"/>
          <p:nvPr/>
        </p:nvSpPr>
        <p:spPr>
          <a:xfrm>
            <a:off x="3575706" y="3955931"/>
            <a:ext cx="15723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işisel Gelişim Eğitimleri </a:t>
            </a: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5" name="Resim 2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1495" y="2804583"/>
            <a:ext cx="1260992" cy="1260992"/>
          </a:xfrm>
          <a:prstGeom prst="rect">
            <a:avLst/>
          </a:prstGeom>
        </p:spPr>
      </p:pic>
      <p:sp>
        <p:nvSpPr>
          <p:cNvPr id="26" name="Metin kutusu 25"/>
          <p:cNvSpPr txBox="1"/>
          <p:nvPr/>
        </p:nvSpPr>
        <p:spPr>
          <a:xfrm>
            <a:off x="5940152" y="3956711"/>
            <a:ext cx="15878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ızlı Kariyer</a:t>
            </a:r>
          </a:p>
          <a:p>
            <a:pPr algn="ctr"/>
            <a:r>
              <a:rPr lang="tr-TR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olculuğu</a:t>
            </a:r>
            <a:endParaRPr lang="tr-TR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434060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" name="Group 96"/>
          <p:cNvGrpSpPr/>
          <p:nvPr/>
        </p:nvGrpSpPr>
        <p:grpSpPr>
          <a:xfrm>
            <a:off x="133021" y="116632"/>
            <a:ext cx="8831467" cy="2736478"/>
            <a:chOff x="-29980" y="1476530"/>
            <a:chExt cx="11772223" cy="3647687"/>
          </a:xfrm>
        </p:grpSpPr>
        <p:sp>
          <p:nvSpPr>
            <p:cNvPr id="89" name="Freeform 11"/>
            <p:cNvSpPr>
              <a:spLocks noEditPoints="1"/>
            </p:cNvSpPr>
            <p:nvPr/>
          </p:nvSpPr>
          <p:spPr bwMode="auto">
            <a:xfrm>
              <a:off x="10833334" y="3886200"/>
              <a:ext cx="908909" cy="1238017"/>
            </a:xfrm>
            <a:custGeom>
              <a:avLst/>
              <a:gdLst/>
              <a:ahLst/>
              <a:cxnLst>
                <a:cxn ang="0">
                  <a:pos x="1022" y="1607"/>
                </a:cxn>
                <a:cxn ang="0">
                  <a:pos x="484" y="1607"/>
                </a:cxn>
                <a:cxn ang="0">
                  <a:pos x="994" y="1590"/>
                </a:cxn>
                <a:cxn ang="0">
                  <a:pos x="1007" y="1568"/>
                </a:cxn>
                <a:cxn ang="0">
                  <a:pos x="725" y="1436"/>
                </a:cxn>
                <a:cxn ang="0">
                  <a:pos x="752" y="1421"/>
                </a:cxn>
                <a:cxn ang="0">
                  <a:pos x="774" y="1208"/>
                </a:cxn>
                <a:cxn ang="0">
                  <a:pos x="646" y="1115"/>
                </a:cxn>
                <a:cxn ang="0">
                  <a:pos x="576" y="1115"/>
                </a:cxn>
                <a:cxn ang="0">
                  <a:pos x="576" y="1115"/>
                </a:cxn>
                <a:cxn ang="0">
                  <a:pos x="895" y="1087"/>
                </a:cxn>
                <a:cxn ang="0">
                  <a:pos x="776" y="940"/>
                </a:cxn>
                <a:cxn ang="0">
                  <a:pos x="576" y="1047"/>
                </a:cxn>
                <a:cxn ang="0">
                  <a:pos x="81" y="1052"/>
                </a:cxn>
                <a:cxn ang="0">
                  <a:pos x="539" y="1071"/>
                </a:cxn>
                <a:cxn ang="0">
                  <a:pos x="549" y="808"/>
                </a:cxn>
                <a:cxn ang="0">
                  <a:pos x="961" y="813"/>
                </a:cxn>
                <a:cxn ang="0">
                  <a:pos x="956" y="1076"/>
                </a:cxn>
                <a:cxn ang="0">
                  <a:pos x="956" y="779"/>
                </a:cxn>
                <a:cxn ang="0">
                  <a:pos x="915" y="813"/>
                </a:cxn>
                <a:cxn ang="0">
                  <a:pos x="930" y="790"/>
                </a:cxn>
                <a:cxn ang="0">
                  <a:pos x="752" y="667"/>
                </a:cxn>
                <a:cxn ang="0">
                  <a:pos x="576" y="790"/>
                </a:cxn>
                <a:cxn ang="0">
                  <a:pos x="752" y="442"/>
                </a:cxn>
                <a:cxn ang="0">
                  <a:pos x="912" y="554"/>
                </a:cxn>
                <a:cxn ang="0">
                  <a:pos x="549" y="562"/>
                </a:cxn>
                <a:cxn ang="0">
                  <a:pos x="549" y="325"/>
                </a:cxn>
                <a:cxn ang="0">
                  <a:pos x="956" y="556"/>
                </a:cxn>
                <a:cxn ang="0">
                  <a:pos x="930" y="319"/>
                </a:cxn>
                <a:cxn ang="0">
                  <a:pos x="576" y="319"/>
                </a:cxn>
                <a:cxn ang="0">
                  <a:pos x="752" y="235"/>
                </a:cxn>
                <a:cxn ang="0">
                  <a:pos x="752" y="235"/>
                </a:cxn>
                <a:cxn ang="0">
                  <a:pos x="653" y="189"/>
                </a:cxn>
                <a:cxn ang="0">
                  <a:pos x="851" y="187"/>
                </a:cxn>
                <a:cxn ang="0">
                  <a:pos x="837" y="165"/>
                </a:cxn>
                <a:cxn ang="0">
                  <a:pos x="756" y="0"/>
                </a:cxn>
                <a:cxn ang="0">
                  <a:pos x="950" y="286"/>
                </a:cxn>
                <a:cxn ang="0">
                  <a:pos x="1339" y="404"/>
                </a:cxn>
                <a:cxn ang="0">
                  <a:pos x="958" y="749"/>
                </a:cxn>
                <a:cxn ang="0">
                  <a:pos x="1528" y="1087"/>
                </a:cxn>
                <a:cxn ang="0">
                  <a:pos x="956" y="1331"/>
                </a:cxn>
                <a:cxn ang="0">
                  <a:pos x="1185" y="2009"/>
                </a:cxn>
                <a:cxn ang="0">
                  <a:pos x="1095" y="2009"/>
                </a:cxn>
                <a:cxn ang="0">
                  <a:pos x="360" y="1974"/>
                </a:cxn>
                <a:cxn ang="0">
                  <a:pos x="261" y="2084"/>
                </a:cxn>
                <a:cxn ang="0">
                  <a:pos x="455" y="1592"/>
                </a:cxn>
                <a:cxn ang="0">
                  <a:pos x="0" y="1115"/>
                </a:cxn>
                <a:cxn ang="0">
                  <a:pos x="549" y="751"/>
                </a:cxn>
                <a:cxn ang="0">
                  <a:pos x="248" y="404"/>
                </a:cxn>
                <a:cxn ang="0">
                  <a:pos x="734" y="15"/>
                </a:cxn>
              </a:cxnLst>
              <a:rect l="0" t="0" r="r" b="b"/>
              <a:pathLst>
                <a:path w="1530" h="2084">
                  <a:moveTo>
                    <a:pt x="1022" y="1607"/>
                  </a:moveTo>
                  <a:lnTo>
                    <a:pt x="780" y="1741"/>
                  </a:lnTo>
                  <a:lnTo>
                    <a:pt x="1132" y="1938"/>
                  </a:lnTo>
                  <a:lnTo>
                    <a:pt x="1022" y="1607"/>
                  </a:lnTo>
                  <a:close/>
                  <a:moveTo>
                    <a:pt x="484" y="1607"/>
                  </a:moveTo>
                  <a:lnTo>
                    <a:pt x="372" y="1938"/>
                  </a:lnTo>
                  <a:lnTo>
                    <a:pt x="725" y="1741"/>
                  </a:lnTo>
                  <a:lnTo>
                    <a:pt x="484" y="1607"/>
                  </a:lnTo>
                  <a:close/>
                  <a:moveTo>
                    <a:pt x="752" y="1453"/>
                  </a:moveTo>
                  <a:lnTo>
                    <a:pt x="510" y="1590"/>
                  </a:lnTo>
                  <a:lnTo>
                    <a:pt x="752" y="1726"/>
                  </a:lnTo>
                  <a:lnTo>
                    <a:pt x="994" y="1590"/>
                  </a:lnTo>
                  <a:lnTo>
                    <a:pt x="752" y="1453"/>
                  </a:lnTo>
                  <a:close/>
                  <a:moveTo>
                    <a:pt x="934" y="1348"/>
                  </a:moveTo>
                  <a:lnTo>
                    <a:pt x="780" y="1436"/>
                  </a:lnTo>
                  <a:lnTo>
                    <a:pt x="1007" y="1568"/>
                  </a:lnTo>
                  <a:lnTo>
                    <a:pt x="934" y="1348"/>
                  </a:lnTo>
                  <a:close/>
                  <a:moveTo>
                    <a:pt x="571" y="1348"/>
                  </a:moveTo>
                  <a:lnTo>
                    <a:pt x="497" y="1568"/>
                  </a:lnTo>
                  <a:lnTo>
                    <a:pt x="725" y="1436"/>
                  </a:lnTo>
                  <a:lnTo>
                    <a:pt x="571" y="1348"/>
                  </a:lnTo>
                  <a:close/>
                  <a:moveTo>
                    <a:pt x="752" y="1225"/>
                  </a:moveTo>
                  <a:lnTo>
                    <a:pt x="600" y="1333"/>
                  </a:lnTo>
                  <a:lnTo>
                    <a:pt x="752" y="1421"/>
                  </a:lnTo>
                  <a:lnTo>
                    <a:pt x="904" y="1333"/>
                  </a:lnTo>
                  <a:lnTo>
                    <a:pt x="752" y="1225"/>
                  </a:lnTo>
                  <a:close/>
                  <a:moveTo>
                    <a:pt x="904" y="1115"/>
                  </a:moveTo>
                  <a:lnTo>
                    <a:pt x="774" y="1208"/>
                  </a:lnTo>
                  <a:lnTo>
                    <a:pt x="930" y="1319"/>
                  </a:lnTo>
                  <a:lnTo>
                    <a:pt x="930" y="1115"/>
                  </a:lnTo>
                  <a:lnTo>
                    <a:pt x="904" y="1115"/>
                  </a:lnTo>
                  <a:close/>
                  <a:moveTo>
                    <a:pt x="646" y="1115"/>
                  </a:moveTo>
                  <a:lnTo>
                    <a:pt x="752" y="1192"/>
                  </a:lnTo>
                  <a:lnTo>
                    <a:pt x="859" y="1115"/>
                  </a:lnTo>
                  <a:lnTo>
                    <a:pt x="646" y="1115"/>
                  </a:lnTo>
                  <a:close/>
                  <a:moveTo>
                    <a:pt x="576" y="1115"/>
                  </a:moveTo>
                  <a:lnTo>
                    <a:pt x="576" y="1319"/>
                  </a:lnTo>
                  <a:lnTo>
                    <a:pt x="728" y="1208"/>
                  </a:lnTo>
                  <a:lnTo>
                    <a:pt x="600" y="1115"/>
                  </a:lnTo>
                  <a:lnTo>
                    <a:pt x="576" y="1115"/>
                  </a:lnTo>
                  <a:close/>
                  <a:moveTo>
                    <a:pt x="752" y="957"/>
                  </a:moveTo>
                  <a:lnTo>
                    <a:pt x="585" y="1071"/>
                  </a:lnTo>
                  <a:lnTo>
                    <a:pt x="609" y="1087"/>
                  </a:lnTo>
                  <a:lnTo>
                    <a:pt x="895" y="1087"/>
                  </a:lnTo>
                  <a:lnTo>
                    <a:pt x="917" y="1071"/>
                  </a:lnTo>
                  <a:lnTo>
                    <a:pt x="752" y="957"/>
                  </a:lnTo>
                  <a:close/>
                  <a:moveTo>
                    <a:pt x="930" y="836"/>
                  </a:moveTo>
                  <a:lnTo>
                    <a:pt x="776" y="940"/>
                  </a:lnTo>
                  <a:lnTo>
                    <a:pt x="930" y="1047"/>
                  </a:lnTo>
                  <a:lnTo>
                    <a:pt x="930" y="836"/>
                  </a:lnTo>
                  <a:close/>
                  <a:moveTo>
                    <a:pt x="576" y="836"/>
                  </a:moveTo>
                  <a:lnTo>
                    <a:pt x="576" y="1047"/>
                  </a:lnTo>
                  <a:lnTo>
                    <a:pt x="728" y="940"/>
                  </a:lnTo>
                  <a:lnTo>
                    <a:pt x="576" y="836"/>
                  </a:lnTo>
                  <a:close/>
                  <a:moveTo>
                    <a:pt x="549" y="780"/>
                  </a:moveTo>
                  <a:lnTo>
                    <a:pt x="81" y="1052"/>
                  </a:lnTo>
                  <a:lnTo>
                    <a:pt x="81" y="1087"/>
                  </a:lnTo>
                  <a:lnTo>
                    <a:pt x="549" y="1087"/>
                  </a:lnTo>
                  <a:lnTo>
                    <a:pt x="549" y="1078"/>
                  </a:lnTo>
                  <a:lnTo>
                    <a:pt x="539" y="1071"/>
                  </a:lnTo>
                  <a:lnTo>
                    <a:pt x="549" y="1065"/>
                  </a:lnTo>
                  <a:lnTo>
                    <a:pt x="549" y="817"/>
                  </a:lnTo>
                  <a:lnTo>
                    <a:pt x="541" y="813"/>
                  </a:lnTo>
                  <a:lnTo>
                    <a:pt x="549" y="808"/>
                  </a:lnTo>
                  <a:lnTo>
                    <a:pt x="549" y="780"/>
                  </a:lnTo>
                  <a:close/>
                  <a:moveTo>
                    <a:pt x="956" y="779"/>
                  </a:moveTo>
                  <a:lnTo>
                    <a:pt x="956" y="810"/>
                  </a:lnTo>
                  <a:lnTo>
                    <a:pt x="961" y="813"/>
                  </a:lnTo>
                  <a:lnTo>
                    <a:pt x="956" y="817"/>
                  </a:lnTo>
                  <a:lnTo>
                    <a:pt x="956" y="1065"/>
                  </a:lnTo>
                  <a:lnTo>
                    <a:pt x="965" y="1071"/>
                  </a:lnTo>
                  <a:lnTo>
                    <a:pt x="956" y="1076"/>
                  </a:lnTo>
                  <a:lnTo>
                    <a:pt x="956" y="1087"/>
                  </a:lnTo>
                  <a:lnTo>
                    <a:pt x="1447" y="1087"/>
                  </a:lnTo>
                  <a:lnTo>
                    <a:pt x="1447" y="1063"/>
                  </a:lnTo>
                  <a:lnTo>
                    <a:pt x="956" y="779"/>
                  </a:lnTo>
                  <a:close/>
                  <a:moveTo>
                    <a:pt x="752" y="698"/>
                  </a:moveTo>
                  <a:lnTo>
                    <a:pt x="589" y="813"/>
                  </a:lnTo>
                  <a:lnTo>
                    <a:pt x="752" y="926"/>
                  </a:lnTo>
                  <a:lnTo>
                    <a:pt x="915" y="813"/>
                  </a:lnTo>
                  <a:lnTo>
                    <a:pt x="752" y="698"/>
                  </a:lnTo>
                  <a:close/>
                  <a:moveTo>
                    <a:pt x="910" y="588"/>
                  </a:moveTo>
                  <a:lnTo>
                    <a:pt x="776" y="683"/>
                  </a:lnTo>
                  <a:lnTo>
                    <a:pt x="930" y="790"/>
                  </a:lnTo>
                  <a:lnTo>
                    <a:pt x="930" y="588"/>
                  </a:lnTo>
                  <a:lnTo>
                    <a:pt x="910" y="588"/>
                  </a:lnTo>
                  <a:close/>
                  <a:moveTo>
                    <a:pt x="640" y="588"/>
                  </a:moveTo>
                  <a:lnTo>
                    <a:pt x="752" y="667"/>
                  </a:lnTo>
                  <a:lnTo>
                    <a:pt x="862" y="588"/>
                  </a:lnTo>
                  <a:lnTo>
                    <a:pt x="640" y="588"/>
                  </a:lnTo>
                  <a:close/>
                  <a:moveTo>
                    <a:pt x="576" y="588"/>
                  </a:moveTo>
                  <a:lnTo>
                    <a:pt x="576" y="790"/>
                  </a:lnTo>
                  <a:lnTo>
                    <a:pt x="728" y="683"/>
                  </a:lnTo>
                  <a:lnTo>
                    <a:pt x="594" y="588"/>
                  </a:lnTo>
                  <a:lnTo>
                    <a:pt x="576" y="588"/>
                  </a:lnTo>
                  <a:close/>
                  <a:moveTo>
                    <a:pt x="752" y="442"/>
                  </a:moveTo>
                  <a:lnTo>
                    <a:pt x="593" y="554"/>
                  </a:lnTo>
                  <a:lnTo>
                    <a:pt x="602" y="562"/>
                  </a:lnTo>
                  <a:lnTo>
                    <a:pt x="901" y="562"/>
                  </a:lnTo>
                  <a:lnTo>
                    <a:pt x="912" y="554"/>
                  </a:lnTo>
                  <a:lnTo>
                    <a:pt x="752" y="442"/>
                  </a:lnTo>
                  <a:close/>
                  <a:moveTo>
                    <a:pt x="549" y="325"/>
                  </a:moveTo>
                  <a:lnTo>
                    <a:pt x="253" y="562"/>
                  </a:lnTo>
                  <a:lnTo>
                    <a:pt x="549" y="562"/>
                  </a:lnTo>
                  <a:lnTo>
                    <a:pt x="549" y="556"/>
                  </a:lnTo>
                  <a:lnTo>
                    <a:pt x="547" y="554"/>
                  </a:lnTo>
                  <a:lnTo>
                    <a:pt x="549" y="553"/>
                  </a:lnTo>
                  <a:lnTo>
                    <a:pt x="549" y="325"/>
                  </a:lnTo>
                  <a:close/>
                  <a:moveTo>
                    <a:pt x="956" y="319"/>
                  </a:moveTo>
                  <a:lnTo>
                    <a:pt x="956" y="553"/>
                  </a:lnTo>
                  <a:lnTo>
                    <a:pt x="958" y="554"/>
                  </a:lnTo>
                  <a:lnTo>
                    <a:pt x="956" y="556"/>
                  </a:lnTo>
                  <a:lnTo>
                    <a:pt x="956" y="562"/>
                  </a:lnTo>
                  <a:lnTo>
                    <a:pt x="1249" y="562"/>
                  </a:lnTo>
                  <a:lnTo>
                    <a:pt x="956" y="319"/>
                  </a:lnTo>
                  <a:close/>
                  <a:moveTo>
                    <a:pt x="930" y="319"/>
                  </a:moveTo>
                  <a:lnTo>
                    <a:pt x="776" y="426"/>
                  </a:lnTo>
                  <a:lnTo>
                    <a:pt x="930" y="534"/>
                  </a:lnTo>
                  <a:lnTo>
                    <a:pt x="930" y="319"/>
                  </a:lnTo>
                  <a:close/>
                  <a:moveTo>
                    <a:pt x="576" y="319"/>
                  </a:moveTo>
                  <a:lnTo>
                    <a:pt x="576" y="534"/>
                  </a:lnTo>
                  <a:lnTo>
                    <a:pt x="728" y="426"/>
                  </a:lnTo>
                  <a:lnTo>
                    <a:pt x="576" y="319"/>
                  </a:lnTo>
                  <a:close/>
                  <a:moveTo>
                    <a:pt x="752" y="235"/>
                  </a:moveTo>
                  <a:lnTo>
                    <a:pt x="602" y="307"/>
                  </a:lnTo>
                  <a:lnTo>
                    <a:pt x="752" y="411"/>
                  </a:lnTo>
                  <a:lnTo>
                    <a:pt x="901" y="307"/>
                  </a:lnTo>
                  <a:lnTo>
                    <a:pt x="752" y="235"/>
                  </a:lnTo>
                  <a:close/>
                  <a:moveTo>
                    <a:pt x="653" y="189"/>
                  </a:moveTo>
                  <a:lnTo>
                    <a:pt x="591" y="281"/>
                  </a:lnTo>
                  <a:lnTo>
                    <a:pt x="721" y="220"/>
                  </a:lnTo>
                  <a:lnTo>
                    <a:pt x="653" y="189"/>
                  </a:lnTo>
                  <a:close/>
                  <a:moveTo>
                    <a:pt x="851" y="187"/>
                  </a:moveTo>
                  <a:lnTo>
                    <a:pt x="783" y="220"/>
                  </a:lnTo>
                  <a:lnTo>
                    <a:pt x="915" y="283"/>
                  </a:lnTo>
                  <a:lnTo>
                    <a:pt x="851" y="187"/>
                  </a:lnTo>
                  <a:close/>
                  <a:moveTo>
                    <a:pt x="752" y="42"/>
                  </a:moveTo>
                  <a:lnTo>
                    <a:pt x="670" y="165"/>
                  </a:lnTo>
                  <a:lnTo>
                    <a:pt x="752" y="206"/>
                  </a:lnTo>
                  <a:lnTo>
                    <a:pt x="837" y="165"/>
                  </a:lnTo>
                  <a:lnTo>
                    <a:pt x="752" y="42"/>
                  </a:lnTo>
                  <a:close/>
                  <a:moveTo>
                    <a:pt x="748" y="0"/>
                  </a:moveTo>
                  <a:lnTo>
                    <a:pt x="752" y="2"/>
                  </a:lnTo>
                  <a:lnTo>
                    <a:pt x="756" y="0"/>
                  </a:lnTo>
                  <a:lnTo>
                    <a:pt x="761" y="9"/>
                  </a:lnTo>
                  <a:lnTo>
                    <a:pt x="770" y="15"/>
                  </a:lnTo>
                  <a:lnTo>
                    <a:pt x="769" y="18"/>
                  </a:lnTo>
                  <a:lnTo>
                    <a:pt x="950" y="286"/>
                  </a:lnTo>
                  <a:lnTo>
                    <a:pt x="952" y="283"/>
                  </a:lnTo>
                  <a:lnTo>
                    <a:pt x="1260" y="536"/>
                  </a:lnTo>
                  <a:lnTo>
                    <a:pt x="1260" y="404"/>
                  </a:lnTo>
                  <a:lnTo>
                    <a:pt x="1339" y="404"/>
                  </a:lnTo>
                  <a:lnTo>
                    <a:pt x="1339" y="588"/>
                  </a:lnTo>
                  <a:lnTo>
                    <a:pt x="956" y="588"/>
                  </a:lnTo>
                  <a:lnTo>
                    <a:pt x="956" y="753"/>
                  </a:lnTo>
                  <a:lnTo>
                    <a:pt x="958" y="749"/>
                  </a:lnTo>
                  <a:lnTo>
                    <a:pt x="1447" y="1034"/>
                  </a:lnTo>
                  <a:lnTo>
                    <a:pt x="1447" y="922"/>
                  </a:lnTo>
                  <a:lnTo>
                    <a:pt x="1528" y="922"/>
                  </a:lnTo>
                  <a:lnTo>
                    <a:pt x="1528" y="1087"/>
                  </a:lnTo>
                  <a:lnTo>
                    <a:pt x="1530" y="1087"/>
                  </a:lnTo>
                  <a:lnTo>
                    <a:pt x="1530" y="1115"/>
                  </a:lnTo>
                  <a:lnTo>
                    <a:pt x="956" y="1115"/>
                  </a:lnTo>
                  <a:lnTo>
                    <a:pt x="956" y="1331"/>
                  </a:lnTo>
                  <a:lnTo>
                    <a:pt x="1044" y="1589"/>
                  </a:lnTo>
                  <a:lnTo>
                    <a:pt x="1049" y="1592"/>
                  </a:lnTo>
                  <a:lnTo>
                    <a:pt x="1046" y="1594"/>
                  </a:lnTo>
                  <a:lnTo>
                    <a:pt x="1185" y="2009"/>
                  </a:lnTo>
                  <a:lnTo>
                    <a:pt x="1247" y="2009"/>
                  </a:lnTo>
                  <a:lnTo>
                    <a:pt x="1247" y="2084"/>
                  </a:lnTo>
                  <a:lnTo>
                    <a:pt x="1095" y="2084"/>
                  </a:lnTo>
                  <a:lnTo>
                    <a:pt x="1095" y="2009"/>
                  </a:lnTo>
                  <a:lnTo>
                    <a:pt x="1157" y="2009"/>
                  </a:lnTo>
                  <a:lnTo>
                    <a:pt x="1145" y="1976"/>
                  </a:lnTo>
                  <a:lnTo>
                    <a:pt x="752" y="1756"/>
                  </a:lnTo>
                  <a:lnTo>
                    <a:pt x="360" y="1974"/>
                  </a:lnTo>
                  <a:lnTo>
                    <a:pt x="349" y="2009"/>
                  </a:lnTo>
                  <a:lnTo>
                    <a:pt x="413" y="2009"/>
                  </a:lnTo>
                  <a:lnTo>
                    <a:pt x="413" y="2084"/>
                  </a:lnTo>
                  <a:lnTo>
                    <a:pt x="261" y="2084"/>
                  </a:lnTo>
                  <a:lnTo>
                    <a:pt x="261" y="2009"/>
                  </a:lnTo>
                  <a:lnTo>
                    <a:pt x="319" y="2009"/>
                  </a:lnTo>
                  <a:lnTo>
                    <a:pt x="460" y="1594"/>
                  </a:lnTo>
                  <a:lnTo>
                    <a:pt x="455" y="1592"/>
                  </a:lnTo>
                  <a:lnTo>
                    <a:pt x="462" y="1589"/>
                  </a:lnTo>
                  <a:lnTo>
                    <a:pt x="549" y="1331"/>
                  </a:lnTo>
                  <a:lnTo>
                    <a:pt x="549" y="1115"/>
                  </a:lnTo>
                  <a:lnTo>
                    <a:pt x="0" y="1115"/>
                  </a:lnTo>
                  <a:lnTo>
                    <a:pt x="0" y="922"/>
                  </a:lnTo>
                  <a:lnTo>
                    <a:pt x="81" y="922"/>
                  </a:lnTo>
                  <a:lnTo>
                    <a:pt x="81" y="1021"/>
                  </a:lnTo>
                  <a:lnTo>
                    <a:pt x="549" y="751"/>
                  </a:lnTo>
                  <a:lnTo>
                    <a:pt x="549" y="588"/>
                  </a:lnTo>
                  <a:lnTo>
                    <a:pt x="167" y="588"/>
                  </a:lnTo>
                  <a:lnTo>
                    <a:pt x="167" y="404"/>
                  </a:lnTo>
                  <a:lnTo>
                    <a:pt x="248" y="404"/>
                  </a:lnTo>
                  <a:lnTo>
                    <a:pt x="248" y="532"/>
                  </a:lnTo>
                  <a:lnTo>
                    <a:pt x="554" y="286"/>
                  </a:lnTo>
                  <a:lnTo>
                    <a:pt x="736" y="18"/>
                  </a:lnTo>
                  <a:lnTo>
                    <a:pt x="734" y="15"/>
                  </a:lnTo>
                  <a:lnTo>
                    <a:pt x="743" y="9"/>
                  </a:lnTo>
                  <a:lnTo>
                    <a:pt x="74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0" name="Freeform 89"/>
            <p:cNvSpPr/>
            <p:nvPr/>
          </p:nvSpPr>
          <p:spPr>
            <a:xfrm>
              <a:off x="9492135" y="3948339"/>
              <a:ext cx="1464508" cy="322102"/>
            </a:xfrm>
            <a:custGeom>
              <a:avLst/>
              <a:gdLst>
                <a:gd name="connsiteX0" fmla="*/ 0 w 3282846"/>
                <a:gd name="connsiteY0" fmla="*/ 0 h 722026"/>
                <a:gd name="connsiteX1" fmla="*/ 1978701 w 3282846"/>
                <a:gd name="connsiteY1" fmla="*/ 614597 h 722026"/>
                <a:gd name="connsiteX2" fmla="*/ 3282846 w 3282846"/>
                <a:gd name="connsiteY2" fmla="*/ 644577 h 722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82846" h="722026">
                  <a:moveTo>
                    <a:pt x="0" y="0"/>
                  </a:moveTo>
                  <a:cubicBezTo>
                    <a:pt x="715780" y="253584"/>
                    <a:pt x="1431560" y="507168"/>
                    <a:pt x="1978701" y="614597"/>
                  </a:cubicBezTo>
                  <a:cubicBezTo>
                    <a:pt x="2525842" y="722026"/>
                    <a:pt x="2904344" y="683301"/>
                    <a:pt x="3282846" y="644577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1" name="Freeform 90"/>
            <p:cNvSpPr/>
            <p:nvPr/>
          </p:nvSpPr>
          <p:spPr>
            <a:xfrm>
              <a:off x="10341415" y="3928278"/>
              <a:ext cx="1270578" cy="370028"/>
            </a:xfrm>
            <a:custGeom>
              <a:avLst/>
              <a:gdLst>
                <a:gd name="connsiteX0" fmla="*/ 0 w 2848132"/>
                <a:gd name="connsiteY0" fmla="*/ 0 h 829455"/>
                <a:gd name="connsiteX1" fmla="*/ 1199214 w 2848132"/>
                <a:gd name="connsiteY1" fmla="*/ 719527 h 829455"/>
                <a:gd name="connsiteX2" fmla="*/ 2848132 w 2848132"/>
                <a:gd name="connsiteY2" fmla="*/ 659567 h 829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48132" h="829455">
                  <a:moveTo>
                    <a:pt x="0" y="0"/>
                  </a:moveTo>
                  <a:cubicBezTo>
                    <a:pt x="362263" y="304799"/>
                    <a:pt x="724526" y="609599"/>
                    <a:pt x="1199214" y="719527"/>
                  </a:cubicBezTo>
                  <a:cubicBezTo>
                    <a:pt x="1673902" y="829455"/>
                    <a:pt x="2261017" y="744511"/>
                    <a:pt x="2848132" y="659567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2" name="Freeform 91"/>
            <p:cNvSpPr/>
            <p:nvPr/>
          </p:nvSpPr>
          <p:spPr>
            <a:xfrm>
              <a:off x="9351702" y="4349575"/>
              <a:ext cx="1497944" cy="286437"/>
            </a:xfrm>
            <a:custGeom>
              <a:avLst/>
              <a:gdLst>
                <a:gd name="connsiteX0" fmla="*/ 0 w 3357797"/>
                <a:gd name="connsiteY0" fmla="*/ 0 h 642079"/>
                <a:gd name="connsiteX1" fmla="*/ 2263515 w 3357797"/>
                <a:gd name="connsiteY1" fmla="*/ 569626 h 642079"/>
                <a:gd name="connsiteX2" fmla="*/ 3357797 w 3357797"/>
                <a:gd name="connsiteY2" fmla="*/ 434715 h 642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57797" h="642079">
                  <a:moveTo>
                    <a:pt x="0" y="0"/>
                  </a:moveTo>
                  <a:cubicBezTo>
                    <a:pt x="851941" y="248587"/>
                    <a:pt x="1703882" y="497174"/>
                    <a:pt x="2263515" y="569626"/>
                  </a:cubicBezTo>
                  <a:cubicBezTo>
                    <a:pt x="2823148" y="642079"/>
                    <a:pt x="3090472" y="538397"/>
                    <a:pt x="3357797" y="434715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3" name="Freeform 92"/>
            <p:cNvSpPr/>
            <p:nvPr/>
          </p:nvSpPr>
          <p:spPr>
            <a:xfrm>
              <a:off x="10488535" y="4369636"/>
              <a:ext cx="1210392" cy="284209"/>
            </a:xfrm>
            <a:custGeom>
              <a:avLst/>
              <a:gdLst>
                <a:gd name="connsiteX0" fmla="*/ 0 w 2713220"/>
                <a:gd name="connsiteY0" fmla="*/ 0 h 637083"/>
                <a:gd name="connsiteX1" fmla="*/ 1184223 w 2713220"/>
                <a:gd name="connsiteY1" fmla="*/ 569627 h 637083"/>
                <a:gd name="connsiteX2" fmla="*/ 2713220 w 2713220"/>
                <a:gd name="connsiteY2" fmla="*/ 404735 h 637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13220" h="637083">
                  <a:moveTo>
                    <a:pt x="0" y="0"/>
                  </a:moveTo>
                  <a:cubicBezTo>
                    <a:pt x="366010" y="251085"/>
                    <a:pt x="732020" y="502171"/>
                    <a:pt x="1184223" y="569627"/>
                  </a:cubicBezTo>
                  <a:cubicBezTo>
                    <a:pt x="1636426" y="637083"/>
                    <a:pt x="2174823" y="520909"/>
                    <a:pt x="2713220" y="404735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0" name="Freeform 11"/>
            <p:cNvSpPr>
              <a:spLocks noEditPoints="1"/>
            </p:cNvSpPr>
            <p:nvPr/>
          </p:nvSpPr>
          <p:spPr bwMode="auto">
            <a:xfrm>
              <a:off x="9358987" y="3505200"/>
              <a:ext cx="1188625" cy="1619017"/>
            </a:xfrm>
            <a:custGeom>
              <a:avLst/>
              <a:gdLst/>
              <a:ahLst/>
              <a:cxnLst>
                <a:cxn ang="0">
                  <a:pos x="1022" y="1607"/>
                </a:cxn>
                <a:cxn ang="0">
                  <a:pos x="484" y="1607"/>
                </a:cxn>
                <a:cxn ang="0">
                  <a:pos x="994" y="1590"/>
                </a:cxn>
                <a:cxn ang="0">
                  <a:pos x="1007" y="1568"/>
                </a:cxn>
                <a:cxn ang="0">
                  <a:pos x="725" y="1436"/>
                </a:cxn>
                <a:cxn ang="0">
                  <a:pos x="752" y="1421"/>
                </a:cxn>
                <a:cxn ang="0">
                  <a:pos x="774" y="1208"/>
                </a:cxn>
                <a:cxn ang="0">
                  <a:pos x="646" y="1115"/>
                </a:cxn>
                <a:cxn ang="0">
                  <a:pos x="576" y="1115"/>
                </a:cxn>
                <a:cxn ang="0">
                  <a:pos x="576" y="1115"/>
                </a:cxn>
                <a:cxn ang="0">
                  <a:pos x="895" y="1087"/>
                </a:cxn>
                <a:cxn ang="0">
                  <a:pos x="776" y="940"/>
                </a:cxn>
                <a:cxn ang="0">
                  <a:pos x="576" y="1047"/>
                </a:cxn>
                <a:cxn ang="0">
                  <a:pos x="81" y="1052"/>
                </a:cxn>
                <a:cxn ang="0">
                  <a:pos x="539" y="1071"/>
                </a:cxn>
                <a:cxn ang="0">
                  <a:pos x="549" y="808"/>
                </a:cxn>
                <a:cxn ang="0">
                  <a:pos x="961" y="813"/>
                </a:cxn>
                <a:cxn ang="0">
                  <a:pos x="956" y="1076"/>
                </a:cxn>
                <a:cxn ang="0">
                  <a:pos x="956" y="779"/>
                </a:cxn>
                <a:cxn ang="0">
                  <a:pos x="915" y="813"/>
                </a:cxn>
                <a:cxn ang="0">
                  <a:pos x="930" y="790"/>
                </a:cxn>
                <a:cxn ang="0">
                  <a:pos x="752" y="667"/>
                </a:cxn>
                <a:cxn ang="0">
                  <a:pos x="576" y="790"/>
                </a:cxn>
                <a:cxn ang="0">
                  <a:pos x="752" y="442"/>
                </a:cxn>
                <a:cxn ang="0">
                  <a:pos x="912" y="554"/>
                </a:cxn>
                <a:cxn ang="0">
                  <a:pos x="549" y="562"/>
                </a:cxn>
                <a:cxn ang="0">
                  <a:pos x="549" y="325"/>
                </a:cxn>
                <a:cxn ang="0">
                  <a:pos x="956" y="556"/>
                </a:cxn>
                <a:cxn ang="0">
                  <a:pos x="930" y="319"/>
                </a:cxn>
                <a:cxn ang="0">
                  <a:pos x="576" y="319"/>
                </a:cxn>
                <a:cxn ang="0">
                  <a:pos x="752" y="235"/>
                </a:cxn>
                <a:cxn ang="0">
                  <a:pos x="752" y="235"/>
                </a:cxn>
                <a:cxn ang="0">
                  <a:pos x="653" y="189"/>
                </a:cxn>
                <a:cxn ang="0">
                  <a:pos x="851" y="187"/>
                </a:cxn>
                <a:cxn ang="0">
                  <a:pos x="837" y="165"/>
                </a:cxn>
                <a:cxn ang="0">
                  <a:pos x="756" y="0"/>
                </a:cxn>
                <a:cxn ang="0">
                  <a:pos x="950" y="286"/>
                </a:cxn>
                <a:cxn ang="0">
                  <a:pos x="1339" y="404"/>
                </a:cxn>
                <a:cxn ang="0">
                  <a:pos x="958" y="749"/>
                </a:cxn>
                <a:cxn ang="0">
                  <a:pos x="1528" y="1087"/>
                </a:cxn>
                <a:cxn ang="0">
                  <a:pos x="956" y="1331"/>
                </a:cxn>
                <a:cxn ang="0">
                  <a:pos x="1185" y="2009"/>
                </a:cxn>
                <a:cxn ang="0">
                  <a:pos x="1095" y="2009"/>
                </a:cxn>
                <a:cxn ang="0">
                  <a:pos x="360" y="1974"/>
                </a:cxn>
                <a:cxn ang="0">
                  <a:pos x="261" y="2084"/>
                </a:cxn>
                <a:cxn ang="0">
                  <a:pos x="455" y="1592"/>
                </a:cxn>
                <a:cxn ang="0">
                  <a:pos x="0" y="1115"/>
                </a:cxn>
                <a:cxn ang="0">
                  <a:pos x="549" y="751"/>
                </a:cxn>
                <a:cxn ang="0">
                  <a:pos x="248" y="404"/>
                </a:cxn>
                <a:cxn ang="0">
                  <a:pos x="734" y="15"/>
                </a:cxn>
              </a:cxnLst>
              <a:rect l="0" t="0" r="r" b="b"/>
              <a:pathLst>
                <a:path w="1530" h="2084">
                  <a:moveTo>
                    <a:pt x="1022" y="1607"/>
                  </a:moveTo>
                  <a:lnTo>
                    <a:pt x="780" y="1741"/>
                  </a:lnTo>
                  <a:lnTo>
                    <a:pt x="1132" y="1938"/>
                  </a:lnTo>
                  <a:lnTo>
                    <a:pt x="1022" y="1607"/>
                  </a:lnTo>
                  <a:close/>
                  <a:moveTo>
                    <a:pt x="484" y="1607"/>
                  </a:moveTo>
                  <a:lnTo>
                    <a:pt x="372" y="1938"/>
                  </a:lnTo>
                  <a:lnTo>
                    <a:pt x="725" y="1741"/>
                  </a:lnTo>
                  <a:lnTo>
                    <a:pt x="484" y="1607"/>
                  </a:lnTo>
                  <a:close/>
                  <a:moveTo>
                    <a:pt x="752" y="1453"/>
                  </a:moveTo>
                  <a:lnTo>
                    <a:pt x="510" y="1590"/>
                  </a:lnTo>
                  <a:lnTo>
                    <a:pt x="752" y="1726"/>
                  </a:lnTo>
                  <a:lnTo>
                    <a:pt x="994" y="1590"/>
                  </a:lnTo>
                  <a:lnTo>
                    <a:pt x="752" y="1453"/>
                  </a:lnTo>
                  <a:close/>
                  <a:moveTo>
                    <a:pt x="934" y="1348"/>
                  </a:moveTo>
                  <a:lnTo>
                    <a:pt x="780" y="1436"/>
                  </a:lnTo>
                  <a:lnTo>
                    <a:pt x="1007" y="1568"/>
                  </a:lnTo>
                  <a:lnTo>
                    <a:pt x="934" y="1348"/>
                  </a:lnTo>
                  <a:close/>
                  <a:moveTo>
                    <a:pt x="571" y="1348"/>
                  </a:moveTo>
                  <a:lnTo>
                    <a:pt x="497" y="1568"/>
                  </a:lnTo>
                  <a:lnTo>
                    <a:pt x="725" y="1436"/>
                  </a:lnTo>
                  <a:lnTo>
                    <a:pt x="571" y="1348"/>
                  </a:lnTo>
                  <a:close/>
                  <a:moveTo>
                    <a:pt x="752" y="1225"/>
                  </a:moveTo>
                  <a:lnTo>
                    <a:pt x="600" y="1333"/>
                  </a:lnTo>
                  <a:lnTo>
                    <a:pt x="752" y="1421"/>
                  </a:lnTo>
                  <a:lnTo>
                    <a:pt x="904" y="1333"/>
                  </a:lnTo>
                  <a:lnTo>
                    <a:pt x="752" y="1225"/>
                  </a:lnTo>
                  <a:close/>
                  <a:moveTo>
                    <a:pt x="904" y="1115"/>
                  </a:moveTo>
                  <a:lnTo>
                    <a:pt x="774" y="1208"/>
                  </a:lnTo>
                  <a:lnTo>
                    <a:pt x="930" y="1319"/>
                  </a:lnTo>
                  <a:lnTo>
                    <a:pt x="930" y="1115"/>
                  </a:lnTo>
                  <a:lnTo>
                    <a:pt x="904" y="1115"/>
                  </a:lnTo>
                  <a:close/>
                  <a:moveTo>
                    <a:pt x="646" y="1115"/>
                  </a:moveTo>
                  <a:lnTo>
                    <a:pt x="752" y="1192"/>
                  </a:lnTo>
                  <a:lnTo>
                    <a:pt x="859" y="1115"/>
                  </a:lnTo>
                  <a:lnTo>
                    <a:pt x="646" y="1115"/>
                  </a:lnTo>
                  <a:close/>
                  <a:moveTo>
                    <a:pt x="576" y="1115"/>
                  </a:moveTo>
                  <a:lnTo>
                    <a:pt x="576" y="1319"/>
                  </a:lnTo>
                  <a:lnTo>
                    <a:pt x="728" y="1208"/>
                  </a:lnTo>
                  <a:lnTo>
                    <a:pt x="600" y="1115"/>
                  </a:lnTo>
                  <a:lnTo>
                    <a:pt x="576" y="1115"/>
                  </a:lnTo>
                  <a:close/>
                  <a:moveTo>
                    <a:pt x="752" y="957"/>
                  </a:moveTo>
                  <a:lnTo>
                    <a:pt x="585" y="1071"/>
                  </a:lnTo>
                  <a:lnTo>
                    <a:pt x="609" y="1087"/>
                  </a:lnTo>
                  <a:lnTo>
                    <a:pt x="895" y="1087"/>
                  </a:lnTo>
                  <a:lnTo>
                    <a:pt x="917" y="1071"/>
                  </a:lnTo>
                  <a:lnTo>
                    <a:pt x="752" y="957"/>
                  </a:lnTo>
                  <a:close/>
                  <a:moveTo>
                    <a:pt x="930" y="836"/>
                  </a:moveTo>
                  <a:lnTo>
                    <a:pt x="776" y="940"/>
                  </a:lnTo>
                  <a:lnTo>
                    <a:pt x="930" y="1047"/>
                  </a:lnTo>
                  <a:lnTo>
                    <a:pt x="930" y="836"/>
                  </a:lnTo>
                  <a:close/>
                  <a:moveTo>
                    <a:pt x="576" y="836"/>
                  </a:moveTo>
                  <a:lnTo>
                    <a:pt x="576" y="1047"/>
                  </a:lnTo>
                  <a:lnTo>
                    <a:pt x="728" y="940"/>
                  </a:lnTo>
                  <a:lnTo>
                    <a:pt x="576" y="836"/>
                  </a:lnTo>
                  <a:close/>
                  <a:moveTo>
                    <a:pt x="549" y="780"/>
                  </a:moveTo>
                  <a:lnTo>
                    <a:pt x="81" y="1052"/>
                  </a:lnTo>
                  <a:lnTo>
                    <a:pt x="81" y="1087"/>
                  </a:lnTo>
                  <a:lnTo>
                    <a:pt x="549" y="1087"/>
                  </a:lnTo>
                  <a:lnTo>
                    <a:pt x="549" y="1078"/>
                  </a:lnTo>
                  <a:lnTo>
                    <a:pt x="539" y="1071"/>
                  </a:lnTo>
                  <a:lnTo>
                    <a:pt x="549" y="1065"/>
                  </a:lnTo>
                  <a:lnTo>
                    <a:pt x="549" y="817"/>
                  </a:lnTo>
                  <a:lnTo>
                    <a:pt x="541" y="813"/>
                  </a:lnTo>
                  <a:lnTo>
                    <a:pt x="549" y="808"/>
                  </a:lnTo>
                  <a:lnTo>
                    <a:pt x="549" y="780"/>
                  </a:lnTo>
                  <a:close/>
                  <a:moveTo>
                    <a:pt x="956" y="779"/>
                  </a:moveTo>
                  <a:lnTo>
                    <a:pt x="956" y="810"/>
                  </a:lnTo>
                  <a:lnTo>
                    <a:pt x="961" y="813"/>
                  </a:lnTo>
                  <a:lnTo>
                    <a:pt x="956" y="817"/>
                  </a:lnTo>
                  <a:lnTo>
                    <a:pt x="956" y="1065"/>
                  </a:lnTo>
                  <a:lnTo>
                    <a:pt x="965" y="1071"/>
                  </a:lnTo>
                  <a:lnTo>
                    <a:pt x="956" y="1076"/>
                  </a:lnTo>
                  <a:lnTo>
                    <a:pt x="956" y="1087"/>
                  </a:lnTo>
                  <a:lnTo>
                    <a:pt x="1447" y="1087"/>
                  </a:lnTo>
                  <a:lnTo>
                    <a:pt x="1447" y="1063"/>
                  </a:lnTo>
                  <a:lnTo>
                    <a:pt x="956" y="779"/>
                  </a:lnTo>
                  <a:close/>
                  <a:moveTo>
                    <a:pt x="752" y="698"/>
                  </a:moveTo>
                  <a:lnTo>
                    <a:pt x="589" y="813"/>
                  </a:lnTo>
                  <a:lnTo>
                    <a:pt x="752" y="926"/>
                  </a:lnTo>
                  <a:lnTo>
                    <a:pt x="915" y="813"/>
                  </a:lnTo>
                  <a:lnTo>
                    <a:pt x="752" y="698"/>
                  </a:lnTo>
                  <a:close/>
                  <a:moveTo>
                    <a:pt x="910" y="588"/>
                  </a:moveTo>
                  <a:lnTo>
                    <a:pt x="776" y="683"/>
                  </a:lnTo>
                  <a:lnTo>
                    <a:pt x="930" y="790"/>
                  </a:lnTo>
                  <a:lnTo>
                    <a:pt x="930" y="588"/>
                  </a:lnTo>
                  <a:lnTo>
                    <a:pt x="910" y="588"/>
                  </a:lnTo>
                  <a:close/>
                  <a:moveTo>
                    <a:pt x="640" y="588"/>
                  </a:moveTo>
                  <a:lnTo>
                    <a:pt x="752" y="667"/>
                  </a:lnTo>
                  <a:lnTo>
                    <a:pt x="862" y="588"/>
                  </a:lnTo>
                  <a:lnTo>
                    <a:pt x="640" y="588"/>
                  </a:lnTo>
                  <a:close/>
                  <a:moveTo>
                    <a:pt x="576" y="588"/>
                  </a:moveTo>
                  <a:lnTo>
                    <a:pt x="576" y="790"/>
                  </a:lnTo>
                  <a:lnTo>
                    <a:pt x="728" y="683"/>
                  </a:lnTo>
                  <a:lnTo>
                    <a:pt x="594" y="588"/>
                  </a:lnTo>
                  <a:lnTo>
                    <a:pt x="576" y="588"/>
                  </a:lnTo>
                  <a:close/>
                  <a:moveTo>
                    <a:pt x="752" y="442"/>
                  </a:moveTo>
                  <a:lnTo>
                    <a:pt x="593" y="554"/>
                  </a:lnTo>
                  <a:lnTo>
                    <a:pt x="602" y="562"/>
                  </a:lnTo>
                  <a:lnTo>
                    <a:pt x="901" y="562"/>
                  </a:lnTo>
                  <a:lnTo>
                    <a:pt x="912" y="554"/>
                  </a:lnTo>
                  <a:lnTo>
                    <a:pt x="752" y="442"/>
                  </a:lnTo>
                  <a:close/>
                  <a:moveTo>
                    <a:pt x="549" y="325"/>
                  </a:moveTo>
                  <a:lnTo>
                    <a:pt x="253" y="562"/>
                  </a:lnTo>
                  <a:lnTo>
                    <a:pt x="549" y="562"/>
                  </a:lnTo>
                  <a:lnTo>
                    <a:pt x="549" y="556"/>
                  </a:lnTo>
                  <a:lnTo>
                    <a:pt x="547" y="554"/>
                  </a:lnTo>
                  <a:lnTo>
                    <a:pt x="549" y="553"/>
                  </a:lnTo>
                  <a:lnTo>
                    <a:pt x="549" y="325"/>
                  </a:lnTo>
                  <a:close/>
                  <a:moveTo>
                    <a:pt x="956" y="319"/>
                  </a:moveTo>
                  <a:lnTo>
                    <a:pt x="956" y="553"/>
                  </a:lnTo>
                  <a:lnTo>
                    <a:pt x="958" y="554"/>
                  </a:lnTo>
                  <a:lnTo>
                    <a:pt x="956" y="556"/>
                  </a:lnTo>
                  <a:lnTo>
                    <a:pt x="956" y="562"/>
                  </a:lnTo>
                  <a:lnTo>
                    <a:pt x="1249" y="562"/>
                  </a:lnTo>
                  <a:lnTo>
                    <a:pt x="956" y="319"/>
                  </a:lnTo>
                  <a:close/>
                  <a:moveTo>
                    <a:pt x="930" y="319"/>
                  </a:moveTo>
                  <a:lnTo>
                    <a:pt x="776" y="426"/>
                  </a:lnTo>
                  <a:lnTo>
                    <a:pt x="930" y="534"/>
                  </a:lnTo>
                  <a:lnTo>
                    <a:pt x="930" y="319"/>
                  </a:lnTo>
                  <a:close/>
                  <a:moveTo>
                    <a:pt x="576" y="319"/>
                  </a:moveTo>
                  <a:lnTo>
                    <a:pt x="576" y="534"/>
                  </a:lnTo>
                  <a:lnTo>
                    <a:pt x="728" y="426"/>
                  </a:lnTo>
                  <a:lnTo>
                    <a:pt x="576" y="319"/>
                  </a:lnTo>
                  <a:close/>
                  <a:moveTo>
                    <a:pt x="752" y="235"/>
                  </a:moveTo>
                  <a:lnTo>
                    <a:pt x="602" y="307"/>
                  </a:lnTo>
                  <a:lnTo>
                    <a:pt x="752" y="411"/>
                  </a:lnTo>
                  <a:lnTo>
                    <a:pt x="901" y="307"/>
                  </a:lnTo>
                  <a:lnTo>
                    <a:pt x="752" y="235"/>
                  </a:lnTo>
                  <a:close/>
                  <a:moveTo>
                    <a:pt x="653" y="189"/>
                  </a:moveTo>
                  <a:lnTo>
                    <a:pt x="591" y="281"/>
                  </a:lnTo>
                  <a:lnTo>
                    <a:pt x="721" y="220"/>
                  </a:lnTo>
                  <a:lnTo>
                    <a:pt x="653" y="189"/>
                  </a:lnTo>
                  <a:close/>
                  <a:moveTo>
                    <a:pt x="851" y="187"/>
                  </a:moveTo>
                  <a:lnTo>
                    <a:pt x="783" y="220"/>
                  </a:lnTo>
                  <a:lnTo>
                    <a:pt x="915" y="283"/>
                  </a:lnTo>
                  <a:lnTo>
                    <a:pt x="851" y="187"/>
                  </a:lnTo>
                  <a:close/>
                  <a:moveTo>
                    <a:pt x="752" y="42"/>
                  </a:moveTo>
                  <a:lnTo>
                    <a:pt x="670" y="165"/>
                  </a:lnTo>
                  <a:lnTo>
                    <a:pt x="752" y="206"/>
                  </a:lnTo>
                  <a:lnTo>
                    <a:pt x="837" y="165"/>
                  </a:lnTo>
                  <a:lnTo>
                    <a:pt x="752" y="42"/>
                  </a:lnTo>
                  <a:close/>
                  <a:moveTo>
                    <a:pt x="748" y="0"/>
                  </a:moveTo>
                  <a:lnTo>
                    <a:pt x="752" y="2"/>
                  </a:lnTo>
                  <a:lnTo>
                    <a:pt x="756" y="0"/>
                  </a:lnTo>
                  <a:lnTo>
                    <a:pt x="761" y="9"/>
                  </a:lnTo>
                  <a:lnTo>
                    <a:pt x="770" y="15"/>
                  </a:lnTo>
                  <a:lnTo>
                    <a:pt x="769" y="18"/>
                  </a:lnTo>
                  <a:lnTo>
                    <a:pt x="950" y="286"/>
                  </a:lnTo>
                  <a:lnTo>
                    <a:pt x="952" y="283"/>
                  </a:lnTo>
                  <a:lnTo>
                    <a:pt x="1260" y="536"/>
                  </a:lnTo>
                  <a:lnTo>
                    <a:pt x="1260" y="404"/>
                  </a:lnTo>
                  <a:lnTo>
                    <a:pt x="1339" y="404"/>
                  </a:lnTo>
                  <a:lnTo>
                    <a:pt x="1339" y="588"/>
                  </a:lnTo>
                  <a:lnTo>
                    <a:pt x="956" y="588"/>
                  </a:lnTo>
                  <a:lnTo>
                    <a:pt x="956" y="753"/>
                  </a:lnTo>
                  <a:lnTo>
                    <a:pt x="958" y="749"/>
                  </a:lnTo>
                  <a:lnTo>
                    <a:pt x="1447" y="1034"/>
                  </a:lnTo>
                  <a:lnTo>
                    <a:pt x="1447" y="922"/>
                  </a:lnTo>
                  <a:lnTo>
                    <a:pt x="1528" y="922"/>
                  </a:lnTo>
                  <a:lnTo>
                    <a:pt x="1528" y="1087"/>
                  </a:lnTo>
                  <a:lnTo>
                    <a:pt x="1530" y="1087"/>
                  </a:lnTo>
                  <a:lnTo>
                    <a:pt x="1530" y="1115"/>
                  </a:lnTo>
                  <a:lnTo>
                    <a:pt x="956" y="1115"/>
                  </a:lnTo>
                  <a:lnTo>
                    <a:pt x="956" y="1331"/>
                  </a:lnTo>
                  <a:lnTo>
                    <a:pt x="1044" y="1589"/>
                  </a:lnTo>
                  <a:lnTo>
                    <a:pt x="1049" y="1592"/>
                  </a:lnTo>
                  <a:lnTo>
                    <a:pt x="1046" y="1594"/>
                  </a:lnTo>
                  <a:lnTo>
                    <a:pt x="1185" y="2009"/>
                  </a:lnTo>
                  <a:lnTo>
                    <a:pt x="1247" y="2009"/>
                  </a:lnTo>
                  <a:lnTo>
                    <a:pt x="1247" y="2084"/>
                  </a:lnTo>
                  <a:lnTo>
                    <a:pt x="1095" y="2084"/>
                  </a:lnTo>
                  <a:lnTo>
                    <a:pt x="1095" y="2009"/>
                  </a:lnTo>
                  <a:lnTo>
                    <a:pt x="1157" y="2009"/>
                  </a:lnTo>
                  <a:lnTo>
                    <a:pt x="1145" y="1976"/>
                  </a:lnTo>
                  <a:lnTo>
                    <a:pt x="752" y="1756"/>
                  </a:lnTo>
                  <a:lnTo>
                    <a:pt x="360" y="1974"/>
                  </a:lnTo>
                  <a:lnTo>
                    <a:pt x="349" y="2009"/>
                  </a:lnTo>
                  <a:lnTo>
                    <a:pt x="413" y="2009"/>
                  </a:lnTo>
                  <a:lnTo>
                    <a:pt x="413" y="2084"/>
                  </a:lnTo>
                  <a:lnTo>
                    <a:pt x="261" y="2084"/>
                  </a:lnTo>
                  <a:lnTo>
                    <a:pt x="261" y="2009"/>
                  </a:lnTo>
                  <a:lnTo>
                    <a:pt x="319" y="2009"/>
                  </a:lnTo>
                  <a:lnTo>
                    <a:pt x="460" y="1594"/>
                  </a:lnTo>
                  <a:lnTo>
                    <a:pt x="455" y="1592"/>
                  </a:lnTo>
                  <a:lnTo>
                    <a:pt x="462" y="1589"/>
                  </a:lnTo>
                  <a:lnTo>
                    <a:pt x="549" y="1331"/>
                  </a:lnTo>
                  <a:lnTo>
                    <a:pt x="549" y="1115"/>
                  </a:lnTo>
                  <a:lnTo>
                    <a:pt x="0" y="1115"/>
                  </a:lnTo>
                  <a:lnTo>
                    <a:pt x="0" y="922"/>
                  </a:lnTo>
                  <a:lnTo>
                    <a:pt x="81" y="922"/>
                  </a:lnTo>
                  <a:lnTo>
                    <a:pt x="81" y="1021"/>
                  </a:lnTo>
                  <a:lnTo>
                    <a:pt x="549" y="751"/>
                  </a:lnTo>
                  <a:lnTo>
                    <a:pt x="549" y="588"/>
                  </a:lnTo>
                  <a:lnTo>
                    <a:pt x="167" y="588"/>
                  </a:lnTo>
                  <a:lnTo>
                    <a:pt x="167" y="404"/>
                  </a:lnTo>
                  <a:lnTo>
                    <a:pt x="248" y="404"/>
                  </a:lnTo>
                  <a:lnTo>
                    <a:pt x="248" y="532"/>
                  </a:lnTo>
                  <a:lnTo>
                    <a:pt x="554" y="286"/>
                  </a:lnTo>
                  <a:lnTo>
                    <a:pt x="736" y="18"/>
                  </a:lnTo>
                  <a:lnTo>
                    <a:pt x="734" y="15"/>
                  </a:lnTo>
                  <a:lnTo>
                    <a:pt x="743" y="9"/>
                  </a:lnTo>
                  <a:lnTo>
                    <a:pt x="74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4" name="Freeform 83"/>
            <p:cNvSpPr/>
            <p:nvPr/>
          </p:nvSpPr>
          <p:spPr>
            <a:xfrm>
              <a:off x="7605033" y="3586463"/>
              <a:ext cx="1915210" cy="421230"/>
            </a:xfrm>
            <a:custGeom>
              <a:avLst/>
              <a:gdLst>
                <a:gd name="connsiteX0" fmla="*/ 0 w 3282846"/>
                <a:gd name="connsiteY0" fmla="*/ 0 h 722026"/>
                <a:gd name="connsiteX1" fmla="*/ 1978701 w 3282846"/>
                <a:gd name="connsiteY1" fmla="*/ 614597 h 722026"/>
                <a:gd name="connsiteX2" fmla="*/ 3282846 w 3282846"/>
                <a:gd name="connsiteY2" fmla="*/ 644577 h 722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82846" h="722026">
                  <a:moveTo>
                    <a:pt x="0" y="0"/>
                  </a:moveTo>
                  <a:cubicBezTo>
                    <a:pt x="715780" y="253584"/>
                    <a:pt x="1431560" y="507168"/>
                    <a:pt x="1978701" y="614597"/>
                  </a:cubicBezTo>
                  <a:cubicBezTo>
                    <a:pt x="2525842" y="722026"/>
                    <a:pt x="2904344" y="683301"/>
                    <a:pt x="3282846" y="644577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5" name="Freeform 84"/>
            <p:cNvSpPr/>
            <p:nvPr/>
          </p:nvSpPr>
          <p:spPr>
            <a:xfrm>
              <a:off x="8715679" y="3560227"/>
              <a:ext cx="1661598" cy="483904"/>
            </a:xfrm>
            <a:custGeom>
              <a:avLst/>
              <a:gdLst>
                <a:gd name="connsiteX0" fmla="*/ 0 w 2848132"/>
                <a:gd name="connsiteY0" fmla="*/ 0 h 829455"/>
                <a:gd name="connsiteX1" fmla="*/ 1199214 w 2848132"/>
                <a:gd name="connsiteY1" fmla="*/ 719527 h 829455"/>
                <a:gd name="connsiteX2" fmla="*/ 2848132 w 2848132"/>
                <a:gd name="connsiteY2" fmla="*/ 659567 h 829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48132" h="829455">
                  <a:moveTo>
                    <a:pt x="0" y="0"/>
                  </a:moveTo>
                  <a:cubicBezTo>
                    <a:pt x="362263" y="304799"/>
                    <a:pt x="724526" y="609599"/>
                    <a:pt x="1199214" y="719527"/>
                  </a:cubicBezTo>
                  <a:cubicBezTo>
                    <a:pt x="1673902" y="829455"/>
                    <a:pt x="2261017" y="744511"/>
                    <a:pt x="2848132" y="659567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" name="Freeform 85"/>
            <p:cNvSpPr/>
            <p:nvPr/>
          </p:nvSpPr>
          <p:spPr>
            <a:xfrm>
              <a:off x="7421382" y="4111178"/>
              <a:ext cx="1958937" cy="374589"/>
            </a:xfrm>
            <a:custGeom>
              <a:avLst/>
              <a:gdLst>
                <a:gd name="connsiteX0" fmla="*/ 0 w 3357797"/>
                <a:gd name="connsiteY0" fmla="*/ 0 h 642079"/>
                <a:gd name="connsiteX1" fmla="*/ 2263515 w 3357797"/>
                <a:gd name="connsiteY1" fmla="*/ 569626 h 642079"/>
                <a:gd name="connsiteX2" fmla="*/ 3357797 w 3357797"/>
                <a:gd name="connsiteY2" fmla="*/ 434715 h 642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57797" h="642079">
                  <a:moveTo>
                    <a:pt x="0" y="0"/>
                  </a:moveTo>
                  <a:cubicBezTo>
                    <a:pt x="851941" y="248587"/>
                    <a:pt x="1703882" y="497174"/>
                    <a:pt x="2263515" y="569626"/>
                  </a:cubicBezTo>
                  <a:cubicBezTo>
                    <a:pt x="2823148" y="642079"/>
                    <a:pt x="3090472" y="538397"/>
                    <a:pt x="3357797" y="434715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7" name="Freeform 86"/>
            <p:cNvSpPr/>
            <p:nvPr/>
          </p:nvSpPr>
          <p:spPr>
            <a:xfrm>
              <a:off x="8908075" y="4137414"/>
              <a:ext cx="1582891" cy="371674"/>
            </a:xfrm>
            <a:custGeom>
              <a:avLst/>
              <a:gdLst>
                <a:gd name="connsiteX0" fmla="*/ 0 w 2713220"/>
                <a:gd name="connsiteY0" fmla="*/ 0 h 637083"/>
                <a:gd name="connsiteX1" fmla="*/ 1184223 w 2713220"/>
                <a:gd name="connsiteY1" fmla="*/ 569627 h 637083"/>
                <a:gd name="connsiteX2" fmla="*/ 2713220 w 2713220"/>
                <a:gd name="connsiteY2" fmla="*/ 404735 h 637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13220" h="637083">
                  <a:moveTo>
                    <a:pt x="0" y="0"/>
                  </a:moveTo>
                  <a:cubicBezTo>
                    <a:pt x="366010" y="251085"/>
                    <a:pt x="732020" y="502171"/>
                    <a:pt x="1184223" y="569627"/>
                  </a:cubicBezTo>
                  <a:cubicBezTo>
                    <a:pt x="1636426" y="637083"/>
                    <a:pt x="2174823" y="520909"/>
                    <a:pt x="2713220" y="404735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4" name="Freeform 11"/>
            <p:cNvSpPr>
              <a:spLocks noEditPoints="1"/>
            </p:cNvSpPr>
            <p:nvPr/>
          </p:nvSpPr>
          <p:spPr bwMode="auto">
            <a:xfrm>
              <a:off x="7415135" y="3028012"/>
              <a:ext cx="1538960" cy="2096205"/>
            </a:xfrm>
            <a:custGeom>
              <a:avLst/>
              <a:gdLst/>
              <a:ahLst/>
              <a:cxnLst>
                <a:cxn ang="0">
                  <a:pos x="1022" y="1607"/>
                </a:cxn>
                <a:cxn ang="0">
                  <a:pos x="484" y="1607"/>
                </a:cxn>
                <a:cxn ang="0">
                  <a:pos x="994" y="1590"/>
                </a:cxn>
                <a:cxn ang="0">
                  <a:pos x="1007" y="1568"/>
                </a:cxn>
                <a:cxn ang="0">
                  <a:pos x="725" y="1436"/>
                </a:cxn>
                <a:cxn ang="0">
                  <a:pos x="752" y="1421"/>
                </a:cxn>
                <a:cxn ang="0">
                  <a:pos x="774" y="1208"/>
                </a:cxn>
                <a:cxn ang="0">
                  <a:pos x="646" y="1115"/>
                </a:cxn>
                <a:cxn ang="0">
                  <a:pos x="576" y="1115"/>
                </a:cxn>
                <a:cxn ang="0">
                  <a:pos x="576" y="1115"/>
                </a:cxn>
                <a:cxn ang="0">
                  <a:pos x="895" y="1087"/>
                </a:cxn>
                <a:cxn ang="0">
                  <a:pos x="776" y="940"/>
                </a:cxn>
                <a:cxn ang="0">
                  <a:pos x="576" y="1047"/>
                </a:cxn>
                <a:cxn ang="0">
                  <a:pos x="81" y="1052"/>
                </a:cxn>
                <a:cxn ang="0">
                  <a:pos x="539" y="1071"/>
                </a:cxn>
                <a:cxn ang="0">
                  <a:pos x="549" y="808"/>
                </a:cxn>
                <a:cxn ang="0">
                  <a:pos x="961" y="813"/>
                </a:cxn>
                <a:cxn ang="0">
                  <a:pos x="956" y="1076"/>
                </a:cxn>
                <a:cxn ang="0">
                  <a:pos x="956" y="779"/>
                </a:cxn>
                <a:cxn ang="0">
                  <a:pos x="915" y="813"/>
                </a:cxn>
                <a:cxn ang="0">
                  <a:pos x="930" y="790"/>
                </a:cxn>
                <a:cxn ang="0">
                  <a:pos x="752" y="667"/>
                </a:cxn>
                <a:cxn ang="0">
                  <a:pos x="576" y="790"/>
                </a:cxn>
                <a:cxn ang="0">
                  <a:pos x="752" y="442"/>
                </a:cxn>
                <a:cxn ang="0">
                  <a:pos x="912" y="554"/>
                </a:cxn>
                <a:cxn ang="0">
                  <a:pos x="549" y="562"/>
                </a:cxn>
                <a:cxn ang="0">
                  <a:pos x="549" y="325"/>
                </a:cxn>
                <a:cxn ang="0">
                  <a:pos x="956" y="556"/>
                </a:cxn>
                <a:cxn ang="0">
                  <a:pos x="930" y="319"/>
                </a:cxn>
                <a:cxn ang="0">
                  <a:pos x="576" y="319"/>
                </a:cxn>
                <a:cxn ang="0">
                  <a:pos x="752" y="235"/>
                </a:cxn>
                <a:cxn ang="0">
                  <a:pos x="752" y="235"/>
                </a:cxn>
                <a:cxn ang="0">
                  <a:pos x="653" y="189"/>
                </a:cxn>
                <a:cxn ang="0">
                  <a:pos x="851" y="187"/>
                </a:cxn>
                <a:cxn ang="0">
                  <a:pos x="837" y="165"/>
                </a:cxn>
                <a:cxn ang="0">
                  <a:pos x="756" y="0"/>
                </a:cxn>
                <a:cxn ang="0">
                  <a:pos x="950" y="286"/>
                </a:cxn>
                <a:cxn ang="0">
                  <a:pos x="1339" y="404"/>
                </a:cxn>
                <a:cxn ang="0">
                  <a:pos x="958" y="749"/>
                </a:cxn>
                <a:cxn ang="0">
                  <a:pos x="1528" y="1087"/>
                </a:cxn>
                <a:cxn ang="0">
                  <a:pos x="956" y="1331"/>
                </a:cxn>
                <a:cxn ang="0">
                  <a:pos x="1185" y="2009"/>
                </a:cxn>
                <a:cxn ang="0">
                  <a:pos x="1095" y="2009"/>
                </a:cxn>
                <a:cxn ang="0">
                  <a:pos x="360" y="1974"/>
                </a:cxn>
                <a:cxn ang="0">
                  <a:pos x="261" y="2084"/>
                </a:cxn>
                <a:cxn ang="0">
                  <a:pos x="455" y="1592"/>
                </a:cxn>
                <a:cxn ang="0">
                  <a:pos x="0" y="1115"/>
                </a:cxn>
                <a:cxn ang="0">
                  <a:pos x="549" y="751"/>
                </a:cxn>
                <a:cxn ang="0">
                  <a:pos x="248" y="404"/>
                </a:cxn>
                <a:cxn ang="0">
                  <a:pos x="734" y="15"/>
                </a:cxn>
              </a:cxnLst>
              <a:rect l="0" t="0" r="r" b="b"/>
              <a:pathLst>
                <a:path w="1530" h="2084">
                  <a:moveTo>
                    <a:pt x="1022" y="1607"/>
                  </a:moveTo>
                  <a:lnTo>
                    <a:pt x="780" y="1741"/>
                  </a:lnTo>
                  <a:lnTo>
                    <a:pt x="1132" y="1938"/>
                  </a:lnTo>
                  <a:lnTo>
                    <a:pt x="1022" y="1607"/>
                  </a:lnTo>
                  <a:close/>
                  <a:moveTo>
                    <a:pt x="484" y="1607"/>
                  </a:moveTo>
                  <a:lnTo>
                    <a:pt x="372" y="1938"/>
                  </a:lnTo>
                  <a:lnTo>
                    <a:pt x="725" y="1741"/>
                  </a:lnTo>
                  <a:lnTo>
                    <a:pt x="484" y="1607"/>
                  </a:lnTo>
                  <a:close/>
                  <a:moveTo>
                    <a:pt x="752" y="1453"/>
                  </a:moveTo>
                  <a:lnTo>
                    <a:pt x="510" y="1590"/>
                  </a:lnTo>
                  <a:lnTo>
                    <a:pt x="752" y="1726"/>
                  </a:lnTo>
                  <a:lnTo>
                    <a:pt x="994" y="1590"/>
                  </a:lnTo>
                  <a:lnTo>
                    <a:pt x="752" y="1453"/>
                  </a:lnTo>
                  <a:close/>
                  <a:moveTo>
                    <a:pt x="934" y="1348"/>
                  </a:moveTo>
                  <a:lnTo>
                    <a:pt x="780" y="1436"/>
                  </a:lnTo>
                  <a:lnTo>
                    <a:pt x="1007" y="1568"/>
                  </a:lnTo>
                  <a:lnTo>
                    <a:pt x="934" y="1348"/>
                  </a:lnTo>
                  <a:close/>
                  <a:moveTo>
                    <a:pt x="571" y="1348"/>
                  </a:moveTo>
                  <a:lnTo>
                    <a:pt x="497" y="1568"/>
                  </a:lnTo>
                  <a:lnTo>
                    <a:pt x="725" y="1436"/>
                  </a:lnTo>
                  <a:lnTo>
                    <a:pt x="571" y="1348"/>
                  </a:lnTo>
                  <a:close/>
                  <a:moveTo>
                    <a:pt x="752" y="1225"/>
                  </a:moveTo>
                  <a:lnTo>
                    <a:pt x="600" y="1333"/>
                  </a:lnTo>
                  <a:lnTo>
                    <a:pt x="752" y="1421"/>
                  </a:lnTo>
                  <a:lnTo>
                    <a:pt x="904" y="1333"/>
                  </a:lnTo>
                  <a:lnTo>
                    <a:pt x="752" y="1225"/>
                  </a:lnTo>
                  <a:close/>
                  <a:moveTo>
                    <a:pt x="904" y="1115"/>
                  </a:moveTo>
                  <a:lnTo>
                    <a:pt x="774" y="1208"/>
                  </a:lnTo>
                  <a:lnTo>
                    <a:pt x="930" y="1319"/>
                  </a:lnTo>
                  <a:lnTo>
                    <a:pt x="930" y="1115"/>
                  </a:lnTo>
                  <a:lnTo>
                    <a:pt x="904" y="1115"/>
                  </a:lnTo>
                  <a:close/>
                  <a:moveTo>
                    <a:pt x="646" y="1115"/>
                  </a:moveTo>
                  <a:lnTo>
                    <a:pt x="752" y="1192"/>
                  </a:lnTo>
                  <a:lnTo>
                    <a:pt x="859" y="1115"/>
                  </a:lnTo>
                  <a:lnTo>
                    <a:pt x="646" y="1115"/>
                  </a:lnTo>
                  <a:close/>
                  <a:moveTo>
                    <a:pt x="576" y="1115"/>
                  </a:moveTo>
                  <a:lnTo>
                    <a:pt x="576" y="1319"/>
                  </a:lnTo>
                  <a:lnTo>
                    <a:pt x="728" y="1208"/>
                  </a:lnTo>
                  <a:lnTo>
                    <a:pt x="600" y="1115"/>
                  </a:lnTo>
                  <a:lnTo>
                    <a:pt x="576" y="1115"/>
                  </a:lnTo>
                  <a:close/>
                  <a:moveTo>
                    <a:pt x="752" y="957"/>
                  </a:moveTo>
                  <a:lnTo>
                    <a:pt x="585" y="1071"/>
                  </a:lnTo>
                  <a:lnTo>
                    <a:pt x="609" y="1087"/>
                  </a:lnTo>
                  <a:lnTo>
                    <a:pt x="895" y="1087"/>
                  </a:lnTo>
                  <a:lnTo>
                    <a:pt x="917" y="1071"/>
                  </a:lnTo>
                  <a:lnTo>
                    <a:pt x="752" y="957"/>
                  </a:lnTo>
                  <a:close/>
                  <a:moveTo>
                    <a:pt x="930" y="836"/>
                  </a:moveTo>
                  <a:lnTo>
                    <a:pt x="776" y="940"/>
                  </a:lnTo>
                  <a:lnTo>
                    <a:pt x="930" y="1047"/>
                  </a:lnTo>
                  <a:lnTo>
                    <a:pt x="930" y="836"/>
                  </a:lnTo>
                  <a:close/>
                  <a:moveTo>
                    <a:pt x="576" y="836"/>
                  </a:moveTo>
                  <a:lnTo>
                    <a:pt x="576" y="1047"/>
                  </a:lnTo>
                  <a:lnTo>
                    <a:pt x="728" y="940"/>
                  </a:lnTo>
                  <a:lnTo>
                    <a:pt x="576" y="836"/>
                  </a:lnTo>
                  <a:close/>
                  <a:moveTo>
                    <a:pt x="549" y="780"/>
                  </a:moveTo>
                  <a:lnTo>
                    <a:pt x="81" y="1052"/>
                  </a:lnTo>
                  <a:lnTo>
                    <a:pt x="81" y="1087"/>
                  </a:lnTo>
                  <a:lnTo>
                    <a:pt x="549" y="1087"/>
                  </a:lnTo>
                  <a:lnTo>
                    <a:pt x="549" y="1078"/>
                  </a:lnTo>
                  <a:lnTo>
                    <a:pt x="539" y="1071"/>
                  </a:lnTo>
                  <a:lnTo>
                    <a:pt x="549" y="1065"/>
                  </a:lnTo>
                  <a:lnTo>
                    <a:pt x="549" y="817"/>
                  </a:lnTo>
                  <a:lnTo>
                    <a:pt x="541" y="813"/>
                  </a:lnTo>
                  <a:lnTo>
                    <a:pt x="549" y="808"/>
                  </a:lnTo>
                  <a:lnTo>
                    <a:pt x="549" y="780"/>
                  </a:lnTo>
                  <a:close/>
                  <a:moveTo>
                    <a:pt x="956" y="779"/>
                  </a:moveTo>
                  <a:lnTo>
                    <a:pt x="956" y="810"/>
                  </a:lnTo>
                  <a:lnTo>
                    <a:pt x="961" y="813"/>
                  </a:lnTo>
                  <a:lnTo>
                    <a:pt x="956" y="817"/>
                  </a:lnTo>
                  <a:lnTo>
                    <a:pt x="956" y="1065"/>
                  </a:lnTo>
                  <a:lnTo>
                    <a:pt x="965" y="1071"/>
                  </a:lnTo>
                  <a:lnTo>
                    <a:pt x="956" y="1076"/>
                  </a:lnTo>
                  <a:lnTo>
                    <a:pt x="956" y="1087"/>
                  </a:lnTo>
                  <a:lnTo>
                    <a:pt x="1447" y="1087"/>
                  </a:lnTo>
                  <a:lnTo>
                    <a:pt x="1447" y="1063"/>
                  </a:lnTo>
                  <a:lnTo>
                    <a:pt x="956" y="779"/>
                  </a:lnTo>
                  <a:close/>
                  <a:moveTo>
                    <a:pt x="752" y="698"/>
                  </a:moveTo>
                  <a:lnTo>
                    <a:pt x="589" y="813"/>
                  </a:lnTo>
                  <a:lnTo>
                    <a:pt x="752" y="926"/>
                  </a:lnTo>
                  <a:lnTo>
                    <a:pt x="915" y="813"/>
                  </a:lnTo>
                  <a:lnTo>
                    <a:pt x="752" y="698"/>
                  </a:lnTo>
                  <a:close/>
                  <a:moveTo>
                    <a:pt x="910" y="588"/>
                  </a:moveTo>
                  <a:lnTo>
                    <a:pt x="776" y="683"/>
                  </a:lnTo>
                  <a:lnTo>
                    <a:pt x="930" y="790"/>
                  </a:lnTo>
                  <a:lnTo>
                    <a:pt x="930" y="588"/>
                  </a:lnTo>
                  <a:lnTo>
                    <a:pt x="910" y="588"/>
                  </a:lnTo>
                  <a:close/>
                  <a:moveTo>
                    <a:pt x="640" y="588"/>
                  </a:moveTo>
                  <a:lnTo>
                    <a:pt x="752" y="667"/>
                  </a:lnTo>
                  <a:lnTo>
                    <a:pt x="862" y="588"/>
                  </a:lnTo>
                  <a:lnTo>
                    <a:pt x="640" y="588"/>
                  </a:lnTo>
                  <a:close/>
                  <a:moveTo>
                    <a:pt x="576" y="588"/>
                  </a:moveTo>
                  <a:lnTo>
                    <a:pt x="576" y="790"/>
                  </a:lnTo>
                  <a:lnTo>
                    <a:pt x="728" y="683"/>
                  </a:lnTo>
                  <a:lnTo>
                    <a:pt x="594" y="588"/>
                  </a:lnTo>
                  <a:lnTo>
                    <a:pt x="576" y="588"/>
                  </a:lnTo>
                  <a:close/>
                  <a:moveTo>
                    <a:pt x="752" y="442"/>
                  </a:moveTo>
                  <a:lnTo>
                    <a:pt x="593" y="554"/>
                  </a:lnTo>
                  <a:lnTo>
                    <a:pt x="602" y="562"/>
                  </a:lnTo>
                  <a:lnTo>
                    <a:pt x="901" y="562"/>
                  </a:lnTo>
                  <a:lnTo>
                    <a:pt x="912" y="554"/>
                  </a:lnTo>
                  <a:lnTo>
                    <a:pt x="752" y="442"/>
                  </a:lnTo>
                  <a:close/>
                  <a:moveTo>
                    <a:pt x="549" y="325"/>
                  </a:moveTo>
                  <a:lnTo>
                    <a:pt x="253" y="562"/>
                  </a:lnTo>
                  <a:lnTo>
                    <a:pt x="549" y="562"/>
                  </a:lnTo>
                  <a:lnTo>
                    <a:pt x="549" y="556"/>
                  </a:lnTo>
                  <a:lnTo>
                    <a:pt x="547" y="554"/>
                  </a:lnTo>
                  <a:lnTo>
                    <a:pt x="549" y="553"/>
                  </a:lnTo>
                  <a:lnTo>
                    <a:pt x="549" y="325"/>
                  </a:lnTo>
                  <a:close/>
                  <a:moveTo>
                    <a:pt x="956" y="319"/>
                  </a:moveTo>
                  <a:lnTo>
                    <a:pt x="956" y="553"/>
                  </a:lnTo>
                  <a:lnTo>
                    <a:pt x="958" y="554"/>
                  </a:lnTo>
                  <a:lnTo>
                    <a:pt x="956" y="556"/>
                  </a:lnTo>
                  <a:lnTo>
                    <a:pt x="956" y="562"/>
                  </a:lnTo>
                  <a:lnTo>
                    <a:pt x="1249" y="562"/>
                  </a:lnTo>
                  <a:lnTo>
                    <a:pt x="956" y="319"/>
                  </a:lnTo>
                  <a:close/>
                  <a:moveTo>
                    <a:pt x="930" y="319"/>
                  </a:moveTo>
                  <a:lnTo>
                    <a:pt x="776" y="426"/>
                  </a:lnTo>
                  <a:lnTo>
                    <a:pt x="930" y="534"/>
                  </a:lnTo>
                  <a:lnTo>
                    <a:pt x="930" y="319"/>
                  </a:lnTo>
                  <a:close/>
                  <a:moveTo>
                    <a:pt x="576" y="319"/>
                  </a:moveTo>
                  <a:lnTo>
                    <a:pt x="576" y="534"/>
                  </a:lnTo>
                  <a:lnTo>
                    <a:pt x="728" y="426"/>
                  </a:lnTo>
                  <a:lnTo>
                    <a:pt x="576" y="319"/>
                  </a:lnTo>
                  <a:close/>
                  <a:moveTo>
                    <a:pt x="752" y="235"/>
                  </a:moveTo>
                  <a:lnTo>
                    <a:pt x="602" y="307"/>
                  </a:lnTo>
                  <a:lnTo>
                    <a:pt x="752" y="411"/>
                  </a:lnTo>
                  <a:lnTo>
                    <a:pt x="901" y="307"/>
                  </a:lnTo>
                  <a:lnTo>
                    <a:pt x="752" y="235"/>
                  </a:lnTo>
                  <a:close/>
                  <a:moveTo>
                    <a:pt x="653" y="189"/>
                  </a:moveTo>
                  <a:lnTo>
                    <a:pt x="591" y="281"/>
                  </a:lnTo>
                  <a:lnTo>
                    <a:pt x="721" y="220"/>
                  </a:lnTo>
                  <a:lnTo>
                    <a:pt x="653" y="189"/>
                  </a:lnTo>
                  <a:close/>
                  <a:moveTo>
                    <a:pt x="851" y="187"/>
                  </a:moveTo>
                  <a:lnTo>
                    <a:pt x="783" y="220"/>
                  </a:lnTo>
                  <a:lnTo>
                    <a:pt x="915" y="283"/>
                  </a:lnTo>
                  <a:lnTo>
                    <a:pt x="851" y="187"/>
                  </a:lnTo>
                  <a:close/>
                  <a:moveTo>
                    <a:pt x="752" y="42"/>
                  </a:moveTo>
                  <a:lnTo>
                    <a:pt x="670" y="165"/>
                  </a:lnTo>
                  <a:lnTo>
                    <a:pt x="752" y="206"/>
                  </a:lnTo>
                  <a:lnTo>
                    <a:pt x="837" y="165"/>
                  </a:lnTo>
                  <a:lnTo>
                    <a:pt x="752" y="42"/>
                  </a:lnTo>
                  <a:close/>
                  <a:moveTo>
                    <a:pt x="748" y="0"/>
                  </a:moveTo>
                  <a:lnTo>
                    <a:pt x="752" y="2"/>
                  </a:lnTo>
                  <a:lnTo>
                    <a:pt x="756" y="0"/>
                  </a:lnTo>
                  <a:lnTo>
                    <a:pt x="761" y="9"/>
                  </a:lnTo>
                  <a:lnTo>
                    <a:pt x="770" y="15"/>
                  </a:lnTo>
                  <a:lnTo>
                    <a:pt x="769" y="18"/>
                  </a:lnTo>
                  <a:lnTo>
                    <a:pt x="950" y="286"/>
                  </a:lnTo>
                  <a:lnTo>
                    <a:pt x="952" y="283"/>
                  </a:lnTo>
                  <a:lnTo>
                    <a:pt x="1260" y="536"/>
                  </a:lnTo>
                  <a:lnTo>
                    <a:pt x="1260" y="404"/>
                  </a:lnTo>
                  <a:lnTo>
                    <a:pt x="1339" y="404"/>
                  </a:lnTo>
                  <a:lnTo>
                    <a:pt x="1339" y="588"/>
                  </a:lnTo>
                  <a:lnTo>
                    <a:pt x="956" y="588"/>
                  </a:lnTo>
                  <a:lnTo>
                    <a:pt x="956" y="753"/>
                  </a:lnTo>
                  <a:lnTo>
                    <a:pt x="958" y="749"/>
                  </a:lnTo>
                  <a:lnTo>
                    <a:pt x="1447" y="1034"/>
                  </a:lnTo>
                  <a:lnTo>
                    <a:pt x="1447" y="922"/>
                  </a:lnTo>
                  <a:lnTo>
                    <a:pt x="1528" y="922"/>
                  </a:lnTo>
                  <a:lnTo>
                    <a:pt x="1528" y="1087"/>
                  </a:lnTo>
                  <a:lnTo>
                    <a:pt x="1530" y="1087"/>
                  </a:lnTo>
                  <a:lnTo>
                    <a:pt x="1530" y="1115"/>
                  </a:lnTo>
                  <a:lnTo>
                    <a:pt x="956" y="1115"/>
                  </a:lnTo>
                  <a:lnTo>
                    <a:pt x="956" y="1331"/>
                  </a:lnTo>
                  <a:lnTo>
                    <a:pt x="1044" y="1589"/>
                  </a:lnTo>
                  <a:lnTo>
                    <a:pt x="1049" y="1592"/>
                  </a:lnTo>
                  <a:lnTo>
                    <a:pt x="1046" y="1594"/>
                  </a:lnTo>
                  <a:lnTo>
                    <a:pt x="1185" y="2009"/>
                  </a:lnTo>
                  <a:lnTo>
                    <a:pt x="1247" y="2009"/>
                  </a:lnTo>
                  <a:lnTo>
                    <a:pt x="1247" y="2084"/>
                  </a:lnTo>
                  <a:lnTo>
                    <a:pt x="1095" y="2084"/>
                  </a:lnTo>
                  <a:lnTo>
                    <a:pt x="1095" y="2009"/>
                  </a:lnTo>
                  <a:lnTo>
                    <a:pt x="1157" y="2009"/>
                  </a:lnTo>
                  <a:lnTo>
                    <a:pt x="1145" y="1976"/>
                  </a:lnTo>
                  <a:lnTo>
                    <a:pt x="752" y="1756"/>
                  </a:lnTo>
                  <a:lnTo>
                    <a:pt x="360" y="1974"/>
                  </a:lnTo>
                  <a:lnTo>
                    <a:pt x="349" y="2009"/>
                  </a:lnTo>
                  <a:lnTo>
                    <a:pt x="413" y="2009"/>
                  </a:lnTo>
                  <a:lnTo>
                    <a:pt x="413" y="2084"/>
                  </a:lnTo>
                  <a:lnTo>
                    <a:pt x="261" y="2084"/>
                  </a:lnTo>
                  <a:lnTo>
                    <a:pt x="261" y="2009"/>
                  </a:lnTo>
                  <a:lnTo>
                    <a:pt x="319" y="2009"/>
                  </a:lnTo>
                  <a:lnTo>
                    <a:pt x="460" y="1594"/>
                  </a:lnTo>
                  <a:lnTo>
                    <a:pt x="455" y="1592"/>
                  </a:lnTo>
                  <a:lnTo>
                    <a:pt x="462" y="1589"/>
                  </a:lnTo>
                  <a:lnTo>
                    <a:pt x="549" y="1331"/>
                  </a:lnTo>
                  <a:lnTo>
                    <a:pt x="549" y="1115"/>
                  </a:lnTo>
                  <a:lnTo>
                    <a:pt x="0" y="1115"/>
                  </a:lnTo>
                  <a:lnTo>
                    <a:pt x="0" y="922"/>
                  </a:lnTo>
                  <a:lnTo>
                    <a:pt x="81" y="922"/>
                  </a:lnTo>
                  <a:lnTo>
                    <a:pt x="81" y="1021"/>
                  </a:lnTo>
                  <a:lnTo>
                    <a:pt x="549" y="751"/>
                  </a:lnTo>
                  <a:lnTo>
                    <a:pt x="549" y="588"/>
                  </a:lnTo>
                  <a:lnTo>
                    <a:pt x="167" y="588"/>
                  </a:lnTo>
                  <a:lnTo>
                    <a:pt x="167" y="404"/>
                  </a:lnTo>
                  <a:lnTo>
                    <a:pt x="248" y="404"/>
                  </a:lnTo>
                  <a:lnTo>
                    <a:pt x="248" y="532"/>
                  </a:lnTo>
                  <a:lnTo>
                    <a:pt x="554" y="286"/>
                  </a:lnTo>
                  <a:lnTo>
                    <a:pt x="736" y="18"/>
                  </a:lnTo>
                  <a:lnTo>
                    <a:pt x="734" y="15"/>
                  </a:lnTo>
                  <a:lnTo>
                    <a:pt x="743" y="9"/>
                  </a:lnTo>
                  <a:lnTo>
                    <a:pt x="74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5" name="Freeform 54"/>
            <p:cNvSpPr/>
            <p:nvPr/>
          </p:nvSpPr>
          <p:spPr>
            <a:xfrm>
              <a:off x="5144222" y="3133226"/>
              <a:ext cx="2479698" cy="545383"/>
            </a:xfrm>
            <a:custGeom>
              <a:avLst/>
              <a:gdLst>
                <a:gd name="connsiteX0" fmla="*/ 0 w 3282846"/>
                <a:gd name="connsiteY0" fmla="*/ 0 h 722026"/>
                <a:gd name="connsiteX1" fmla="*/ 1978701 w 3282846"/>
                <a:gd name="connsiteY1" fmla="*/ 614597 h 722026"/>
                <a:gd name="connsiteX2" fmla="*/ 3282846 w 3282846"/>
                <a:gd name="connsiteY2" fmla="*/ 644577 h 722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82846" h="722026">
                  <a:moveTo>
                    <a:pt x="0" y="0"/>
                  </a:moveTo>
                  <a:cubicBezTo>
                    <a:pt x="715780" y="253584"/>
                    <a:pt x="1431560" y="507168"/>
                    <a:pt x="1978701" y="614597"/>
                  </a:cubicBezTo>
                  <a:cubicBezTo>
                    <a:pt x="2525842" y="722026"/>
                    <a:pt x="2904344" y="683301"/>
                    <a:pt x="3282846" y="644577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8" name="Freeform 57"/>
            <p:cNvSpPr/>
            <p:nvPr/>
          </p:nvSpPr>
          <p:spPr>
            <a:xfrm>
              <a:off x="6582219" y="3099258"/>
              <a:ext cx="2151337" cy="626529"/>
            </a:xfrm>
            <a:custGeom>
              <a:avLst/>
              <a:gdLst>
                <a:gd name="connsiteX0" fmla="*/ 0 w 2848132"/>
                <a:gd name="connsiteY0" fmla="*/ 0 h 829455"/>
                <a:gd name="connsiteX1" fmla="*/ 1199214 w 2848132"/>
                <a:gd name="connsiteY1" fmla="*/ 719527 h 829455"/>
                <a:gd name="connsiteX2" fmla="*/ 2848132 w 2848132"/>
                <a:gd name="connsiteY2" fmla="*/ 659567 h 829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48132" h="829455">
                  <a:moveTo>
                    <a:pt x="0" y="0"/>
                  </a:moveTo>
                  <a:cubicBezTo>
                    <a:pt x="362263" y="304799"/>
                    <a:pt x="724526" y="609599"/>
                    <a:pt x="1199214" y="719527"/>
                  </a:cubicBezTo>
                  <a:cubicBezTo>
                    <a:pt x="1673902" y="829455"/>
                    <a:pt x="2261017" y="744511"/>
                    <a:pt x="2848132" y="659567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3" name="Freeform 62"/>
            <p:cNvSpPr/>
            <p:nvPr/>
          </p:nvSpPr>
          <p:spPr>
            <a:xfrm>
              <a:off x="4906442" y="3812596"/>
              <a:ext cx="2536312" cy="484995"/>
            </a:xfrm>
            <a:custGeom>
              <a:avLst/>
              <a:gdLst>
                <a:gd name="connsiteX0" fmla="*/ 0 w 3357797"/>
                <a:gd name="connsiteY0" fmla="*/ 0 h 642079"/>
                <a:gd name="connsiteX1" fmla="*/ 2263515 w 3357797"/>
                <a:gd name="connsiteY1" fmla="*/ 569626 h 642079"/>
                <a:gd name="connsiteX2" fmla="*/ 3357797 w 3357797"/>
                <a:gd name="connsiteY2" fmla="*/ 434715 h 642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57797" h="642079">
                  <a:moveTo>
                    <a:pt x="0" y="0"/>
                  </a:moveTo>
                  <a:cubicBezTo>
                    <a:pt x="851941" y="248587"/>
                    <a:pt x="1703882" y="497174"/>
                    <a:pt x="2263515" y="569626"/>
                  </a:cubicBezTo>
                  <a:cubicBezTo>
                    <a:pt x="2823148" y="642079"/>
                    <a:pt x="3090472" y="538397"/>
                    <a:pt x="3357797" y="434715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0" name="Freeform 69"/>
            <p:cNvSpPr/>
            <p:nvPr/>
          </p:nvSpPr>
          <p:spPr>
            <a:xfrm>
              <a:off x="6831322" y="3846564"/>
              <a:ext cx="2049431" cy="481221"/>
            </a:xfrm>
            <a:custGeom>
              <a:avLst/>
              <a:gdLst>
                <a:gd name="connsiteX0" fmla="*/ 0 w 2713220"/>
                <a:gd name="connsiteY0" fmla="*/ 0 h 637083"/>
                <a:gd name="connsiteX1" fmla="*/ 1184223 w 2713220"/>
                <a:gd name="connsiteY1" fmla="*/ 569627 h 637083"/>
                <a:gd name="connsiteX2" fmla="*/ 2713220 w 2713220"/>
                <a:gd name="connsiteY2" fmla="*/ 404735 h 637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13220" h="637083">
                  <a:moveTo>
                    <a:pt x="0" y="0"/>
                  </a:moveTo>
                  <a:cubicBezTo>
                    <a:pt x="366010" y="251085"/>
                    <a:pt x="732020" y="502171"/>
                    <a:pt x="1184223" y="569627"/>
                  </a:cubicBezTo>
                  <a:cubicBezTo>
                    <a:pt x="1636426" y="637083"/>
                    <a:pt x="2174823" y="520909"/>
                    <a:pt x="2713220" y="404735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7" name="Freeform 11"/>
            <p:cNvSpPr>
              <a:spLocks noEditPoints="1"/>
            </p:cNvSpPr>
            <p:nvPr/>
          </p:nvSpPr>
          <p:spPr bwMode="auto">
            <a:xfrm>
              <a:off x="4895199" y="2334085"/>
              <a:ext cx="2037413" cy="2775143"/>
            </a:xfrm>
            <a:custGeom>
              <a:avLst/>
              <a:gdLst/>
              <a:ahLst/>
              <a:cxnLst>
                <a:cxn ang="0">
                  <a:pos x="1022" y="1607"/>
                </a:cxn>
                <a:cxn ang="0">
                  <a:pos x="484" y="1607"/>
                </a:cxn>
                <a:cxn ang="0">
                  <a:pos x="994" y="1590"/>
                </a:cxn>
                <a:cxn ang="0">
                  <a:pos x="1007" y="1568"/>
                </a:cxn>
                <a:cxn ang="0">
                  <a:pos x="725" y="1436"/>
                </a:cxn>
                <a:cxn ang="0">
                  <a:pos x="752" y="1421"/>
                </a:cxn>
                <a:cxn ang="0">
                  <a:pos x="774" y="1208"/>
                </a:cxn>
                <a:cxn ang="0">
                  <a:pos x="646" y="1115"/>
                </a:cxn>
                <a:cxn ang="0">
                  <a:pos x="576" y="1115"/>
                </a:cxn>
                <a:cxn ang="0">
                  <a:pos x="576" y="1115"/>
                </a:cxn>
                <a:cxn ang="0">
                  <a:pos x="895" y="1087"/>
                </a:cxn>
                <a:cxn ang="0">
                  <a:pos x="776" y="940"/>
                </a:cxn>
                <a:cxn ang="0">
                  <a:pos x="576" y="1047"/>
                </a:cxn>
                <a:cxn ang="0">
                  <a:pos x="81" y="1052"/>
                </a:cxn>
                <a:cxn ang="0">
                  <a:pos x="539" y="1071"/>
                </a:cxn>
                <a:cxn ang="0">
                  <a:pos x="549" y="808"/>
                </a:cxn>
                <a:cxn ang="0">
                  <a:pos x="961" y="813"/>
                </a:cxn>
                <a:cxn ang="0">
                  <a:pos x="956" y="1076"/>
                </a:cxn>
                <a:cxn ang="0">
                  <a:pos x="956" y="779"/>
                </a:cxn>
                <a:cxn ang="0">
                  <a:pos x="915" y="813"/>
                </a:cxn>
                <a:cxn ang="0">
                  <a:pos x="930" y="790"/>
                </a:cxn>
                <a:cxn ang="0">
                  <a:pos x="752" y="667"/>
                </a:cxn>
                <a:cxn ang="0">
                  <a:pos x="576" y="790"/>
                </a:cxn>
                <a:cxn ang="0">
                  <a:pos x="752" y="442"/>
                </a:cxn>
                <a:cxn ang="0">
                  <a:pos x="912" y="554"/>
                </a:cxn>
                <a:cxn ang="0">
                  <a:pos x="549" y="562"/>
                </a:cxn>
                <a:cxn ang="0">
                  <a:pos x="549" y="325"/>
                </a:cxn>
                <a:cxn ang="0">
                  <a:pos x="956" y="556"/>
                </a:cxn>
                <a:cxn ang="0">
                  <a:pos x="930" y="319"/>
                </a:cxn>
                <a:cxn ang="0">
                  <a:pos x="576" y="319"/>
                </a:cxn>
                <a:cxn ang="0">
                  <a:pos x="752" y="235"/>
                </a:cxn>
                <a:cxn ang="0">
                  <a:pos x="752" y="235"/>
                </a:cxn>
                <a:cxn ang="0">
                  <a:pos x="653" y="189"/>
                </a:cxn>
                <a:cxn ang="0">
                  <a:pos x="851" y="187"/>
                </a:cxn>
                <a:cxn ang="0">
                  <a:pos x="837" y="165"/>
                </a:cxn>
                <a:cxn ang="0">
                  <a:pos x="756" y="0"/>
                </a:cxn>
                <a:cxn ang="0">
                  <a:pos x="950" y="286"/>
                </a:cxn>
                <a:cxn ang="0">
                  <a:pos x="1339" y="404"/>
                </a:cxn>
                <a:cxn ang="0">
                  <a:pos x="958" y="749"/>
                </a:cxn>
                <a:cxn ang="0">
                  <a:pos x="1528" y="1087"/>
                </a:cxn>
                <a:cxn ang="0">
                  <a:pos x="956" y="1331"/>
                </a:cxn>
                <a:cxn ang="0">
                  <a:pos x="1185" y="2009"/>
                </a:cxn>
                <a:cxn ang="0">
                  <a:pos x="1095" y="2009"/>
                </a:cxn>
                <a:cxn ang="0">
                  <a:pos x="360" y="1974"/>
                </a:cxn>
                <a:cxn ang="0">
                  <a:pos x="261" y="2084"/>
                </a:cxn>
                <a:cxn ang="0">
                  <a:pos x="455" y="1592"/>
                </a:cxn>
                <a:cxn ang="0">
                  <a:pos x="0" y="1115"/>
                </a:cxn>
                <a:cxn ang="0">
                  <a:pos x="549" y="751"/>
                </a:cxn>
                <a:cxn ang="0">
                  <a:pos x="248" y="404"/>
                </a:cxn>
                <a:cxn ang="0">
                  <a:pos x="734" y="15"/>
                </a:cxn>
              </a:cxnLst>
              <a:rect l="0" t="0" r="r" b="b"/>
              <a:pathLst>
                <a:path w="1530" h="2084">
                  <a:moveTo>
                    <a:pt x="1022" y="1607"/>
                  </a:moveTo>
                  <a:lnTo>
                    <a:pt x="780" y="1741"/>
                  </a:lnTo>
                  <a:lnTo>
                    <a:pt x="1132" y="1938"/>
                  </a:lnTo>
                  <a:lnTo>
                    <a:pt x="1022" y="1607"/>
                  </a:lnTo>
                  <a:close/>
                  <a:moveTo>
                    <a:pt x="484" y="1607"/>
                  </a:moveTo>
                  <a:lnTo>
                    <a:pt x="372" y="1938"/>
                  </a:lnTo>
                  <a:lnTo>
                    <a:pt x="725" y="1741"/>
                  </a:lnTo>
                  <a:lnTo>
                    <a:pt x="484" y="1607"/>
                  </a:lnTo>
                  <a:close/>
                  <a:moveTo>
                    <a:pt x="752" y="1453"/>
                  </a:moveTo>
                  <a:lnTo>
                    <a:pt x="510" y="1590"/>
                  </a:lnTo>
                  <a:lnTo>
                    <a:pt x="752" y="1726"/>
                  </a:lnTo>
                  <a:lnTo>
                    <a:pt x="994" y="1590"/>
                  </a:lnTo>
                  <a:lnTo>
                    <a:pt x="752" y="1453"/>
                  </a:lnTo>
                  <a:close/>
                  <a:moveTo>
                    <a:pt x="934" y="1348"/>
                  </a:moveTo>
                  <a:lnTo>
                    <a:pt x="780" y="1436"/>
                  </a:lnTo>
                  <a:lnTo>
                    <a:pt x="1007" y="1568"/>
                  </a:lnTo>
                  <a:lnTo>
                    <a:pt x="934" y="1348"/>
                  </a:lnTo>
                  <a:close/>
                  <a:moveTo>
                    <a:pt x="571" y="1348"/>
                  </a:moveTo>
                  <a:lnTo>
                    <a:pt x="497" y="1568"/>
                  </a:lnTo>
                  <a:lnTo>
                    <a:pt x="725" y="1436"/>
                  </a:lnTo>
                  <a:lnTo>
                    <a:pt x="571" y="1348"/>
                  </a:lnTo>
                  <a:close/>
                  <a:moveTo>
                    <a:pt x="752" y="1225"/>
                  </a:moveTo>
                  <a:lnTo>
                    <a:pt x="600" y="1333"/>
                  </a:lnTo>
                  <a:lnTo>
                    <a:pt x="752" y="1421"/>
                  </a:lnTo>
                  <a:lnTo>
                    <a:pt x="904" y="1333"/>
                  </a:lnTo>
                  <a:lnTo>
                    <a:pt x="752" y="1225"/>
                  </a:lnTo>
                  <a:close/>
                  <a:moveTo>
                    <a:pt x="904" y="1115"/>
                  </a:moveTo>
                  <a:lnTo>
                    <a:pt x="774" y="1208"/>
                  </a:lnTo>
                  <a:lnTo>
                    <a:pt x="930" y="1319"/>
                  </a:lnTo>
                  <a:lnTo>
                    <a:pt x="930" y="1115"/>
                  </a:lnTo>
                  <a:lnTo>
                    <a:pt x="904" y="1115"/>
                  </a:lnTo>
                  <a:close/>
                  <a:moveTo>
                    <a:pt x="646" y="1115"/>
                  </a:moveTo>
                  <a:lnTo>
                    <a:pt x="752" y="1192"/>
                  </a:lnTo>
                  <a:lnTo>
                    <a:pt x="859" y="1115"/>
                  </a:lnTo>
                  <a:lnTo>
                    <a:pt x="646" y="1115"/>
                  </a:lnTo>
                  <a:close/>
                  <a:moveTo>
                    <a:pt x="576" y="1115"/>
                  </a:moveTo>
                  <a:lnTo>
                    <a:pt x="576" y="1319"/>
                  </a:lnTo>
                  <a:lnTo>
                    <a:pt x="728" y="1208"/>
                  </a:lnTo>
                  <a:lnTo>
                    <a:pt x="600" y="1115"/>
                  </a:lnTo>
                  <a:lnTo>
                    <a:pt x="576" y="1115"/>
                  </a:lnTo>
                  <a:close/>
                  <a:moveTo>
                    <a:pt x="752" y="957"/>
                  </a:moveTo>
                  <a:lnTo>
                    <a:pt x="585" y="1071"/>
                  </a:lnTo>
                  <a:lnTo>
                    <a:pt x="609" y="1087"/>
                  </a:lnTo>
                  <a:lnTo>
                    <a:pt x="895" y="1087"/>
                  </a:lnTo>
                  <a:lnTo>
                    <a:pt x="917" y="1071"/>
                  </a:lnTo>
                  <a:lnTo>
                    <a:pt x="752" y="957"/>
                  </a:lnTo>
                  <a:close/>
                  <a:moveTo>
                    <a:pt x="930" y="836"/>
                  </a:moveTo>
                  <a:lnTo>
                    <a:pt x="776" y="940"/>
                  </a:lnTo>
                  <a:lnTo>
                    <a:pt x="930" y="1047"/>
                  </a:lnTo>
                  <a:lnTo>
                    <a:pt x="930" y="836"/>
                  </a:lnTo>
                  <a:close/>
                  <a:moveTo>
                    <a:pt x="576" y="836"/>
                  </a:moveTo>
                  <a:lnTo>
                    <a:pt x="576" y="1047"/>
                  </a:lnTo>
                  <a:lnTo>
                    <a:pt x="728" y="940"/>
                  </a:lnTo>
                  <a:lnTo>
                    <a:pt x="576" y="836"/>
                  </a:lnTo>
                  <a:close/>
                  <a:moveTo>
                    <a:pt x="549" y="780"/>
                  </a:moveTo>
                  <a:lnTo>
                    <a:pt x="81" y="1052"/>
                  </a:lnTo>
                  <a:lnTo>
                    <a:pt x="81" y="1087"/>
                  </a:lnTo>
                  <a:lnTo>
                    <a:pt x="549" y="1087"/>
                  </a:lnTo>
                  <a:lnTo>
                    <a:pt x="549" y="1078"/>
                  </a:lnTo>
                  <a:lnTo>
                    <a:pt x="539" y="1071"/>
                  </a:lnTo>
                  <a:lnTo>
                    <a:pt x="549" y="1065"/>
                  </a:lnTo>
                  <a:lnTo>
                    <a:pt x="549" y="817"/>
                  </a:lnTo>
                  <a:lnTo>
                    <a:pt x="541" y="813"/>
                  </a:lnTo>
                  <a:lnTo>
                    <a:pt x="549" y="808"/>
                  </a:lnTo>
                  <a:lnTo>
                    <a:pt x="549" y="780"/>
                  </a:lnTo>
                  <a:close/>
                  <a:moveTo>
                    <a:pt x="956" y="779"/>
                  </a:moveTo>
                  <a:lnTo>
                    <a:pt x="956" y="810"/>
                  </a:lnTo>
                  <a:lnTo>
                    <a:pt x="961" y="813"/>
                  </a:lnTo>
                  <a:lnTo>
                    <a:pt x="956" y="817"/>
                  </a:lnTo>
                  <a:lnTo>
                    <a:pt x="956" y="1065"/>
                  </a:lnTo>
                  <a:lnTo>
                    <a:pt x="965" y="1071"/>
                  </a:lnTo>
                  <a:lnTo>
                    <a:pt x="956" y="1076"/>
                  </a:lnTo>
                  <a:lnTo>
                    <a:pt x="956" y="1087"/>
                  </a:lnTo>
                  <a:lnTo>
                    <a:pt x="1447" y="1087"/>
                  </a:lnTo>
                  <a:lnTo>
                    <a:pt x="1447" y="1063"/>
                  </a:lnTo>
                  <a:lnTo>
                    <a:pt x="956" y="779"/>
                  </a:lnTo>
                  <a:close/>
                  <a:moveTo>
                    <a:pt x="752" y="698"/>
                  </a:moveTo>
                  <a:lnTo>
                    <a:pt x="589" y="813"/>
                  </a:lnTo>
                  <a:lnTo>
                    <a:pt x="752" y="926"/>
                  </a:lnTo>
                  <a:lnTo>
                    <a:pt x="915" y="813"/>
                  </a:lnTo>
                  <a:lnTo>
                    <a:pt x="752" y="698"/>
                  </a:lnTo>
                  <a:close/>
                  <a:moveTo>
                    <a:pt x="910" y="588"/>
                  </a:moveTo>
                  <a:lnTo>
                    <a:pt x="776" y="683"/>
                  </a:lnTo>
                  <a:lnTo>
                    <a:pt x="930" y="790"/>
                  </a:lnTo>
                  <a:lnTo>
                    <a:pt x="930" y="588"/>
                  </a:lnTo>
                  <a:lnTo>
                    <a:pt x="910" y="588"/>
                  </a:lnTo>
                  <a:close/>
                  <a:moveTo>
                    <a:pt x="640" y="588"/>
                  </a:moveTo>
                  <a:lnTo>
                    <a:pt x="752" y="667"/>
                  </a:lnTo>
                  <a:lnTo>
                    <a:pt x="862" y="588"/>
                  </a:lnTo>
                  <a:lnTo>
                    <a:pt x="640" y="588"/>
                  </a:lnTo>
                  <a:close/>
                  <a:moveTo>
                    <a:pt x="576" y="588"/>
                  </a:moveTo>
                  <a:lnTo>
                    <a:pt x="576" y="790"/>
                  </a:lnTo>
                  <a:lnTo>
                    <a:pt x="728" y="683"/>
                  </a:lnTo>
                  <a:lnTo>
                    <a:pt x="594" y="588"/>
                  </a:lnTo>
                  <a:lnTo>
                    <a:pt x="576" y="588"/>
                  </a:lnTo>
                  <a:close/>
                  <a:moveTo>
                    <a:pt x="752" y="442"/>
                  </a:moveTo>
                  <a:lnTo>
                    <a:pt x="593" y="554"/>
                  </a:lnTo>
                  <a:lnTo>
                    <a:pt x="602" y="562"/>
                  </a:lnTo>
                  <a:lnTo>
                    <a:pt x="901" y="562"/>
                  </a:lnTo>
                  <a:lnTo>
                    <a:pt x="912" y="554"/>
                  </a:lnTo>
                  <a:lnTo>
                    <a:pt x="752" y="442"/>
                  </a:lnTo>
                  <a:close/>
                  <a:moveTo>
                    <a:pt x="549" y="325"/>
                  </a:moveTo>
                  <a:lnTo>
                    <a:pt x="253" y="562"/>
                  </a:lnTo>
                  <a:lnTo>
                    <a:pt x="549" y="562"/>
                  </a:lnTo>
                  <a:lnTo>
                    <a:pt x="549" y="556"/>
                  </a:lnTo>
                  <a:lnTo>
                    <a:pt x="547" y="554"/>
                  </a:lnTo>
                  <a:lnTo>
                    <a:pt x="549" y="553"/>
                  </a:lnTo>
                  <a:lnTo>
                    <a:pt x="549" y="325"/>
                  </a:lnTo>
                  <a:close/>
                  <a:moveTo>
                    <a:pt x="956" y="319"/>
                  </a:moveTo>
                  <a:lnTo>
                    <a:pt x="956" y="553"/>
                  </a:lnTo>
                  <a:lnTo>
                    <a:pt x="958" y="554"/>
                  </a:lnTo>
                  <a:lnTo>
                    <a:pt x="956" y="556"/>
                  </a:lnTo>
                  <a:lnTo>
                    <a:pt x="956" y="562"/>
                  </a:lnTo>
                  <a:lnTo>
                    <a:pt x="1249" y="562"/>
                  </a:lnTo>
                  <a:lnTo>
                    <a:pt x="956" y="319"/>
                  </a:lnTo>
                  <a:close/>
                  <a:moveTo>
                    <a:pt x="930" y="319"/>
                  </a:moveTo>
                  <a:lnTo>
                    <a:pt x="776" y="426"/>
                  </a:lnTo>
                  <a:lnTo>
                    <a:pt x="930" y="534"/>
                  </a:lnTo>
                  <a:lnTo>
                    <a:pt x="930" y="319"/>
                  </a:lnTo>
                  <a:close/>
                  <a:moveTo>
                    <a:pt x="576" y="319"/>
                  </a:moveTo>
                  <a:lnTo>
                    <a:pt x="576" y="534"/>
                  </a:lnTo>
                  <a:lnTo>
                    <a:pt x="728" y="426"/>
                  </a:lnTo>
                  <a:lnTo>
                    <a:pt x="576" y="319"/>
                  </a:lnTo>
                  <a:close/>
                  <a:moveTo>
                    <a:pt x="752" y="235"/>
                  </a:moveTo>
                  <a:lnTo>
                    <a:pt x="602" y="307"/>
                  </a:lnTo>
                  <a:lnTo>
                    <a:pt x="752" y="411"/>
                  </a:lnTo>
                  <a:lnTo>
                    <a:pt x="901" y="307"/>
                  </a:lnTo>
                  <a:lnTo>
                    <a:pt x="752" y="235"/>
                  </a:lnTo>
                  <a:close/>
                  <a:moveTo>
                    <a:pt x="653" y="189"/>
                  </a:moveTo>
                  <a:lnTo>
                    <a:pt x="591" y="281"/>
                  </a:lnTo>
                  <a:lnTo>
                    <a:pt x="721" y="220"/>
                  </a:lnTo>
                  <a:lnTo>
                    <a:pt x="653" y="189"/>
                  </a:lnTo>
                  <a:close/>
                  <a:moveTo>
                    <a:pt x="851" y="187"/>
                  </a:moveTo>
                  <a:lnTo>
                    <a:pt x="783" y="220"/>
                  </a:lnTo>
                  <a:lnTo>
                    <a:pt x="915" y="283"/>
                  </a:lnTo>
                  <a:lnTo>
                    <a:pt x="851" y="187"/>
                  </a:lnTo>
                  <a:close/>
                  <a:moveTo>
                    <a:pt x="752" y="42"/>
                  </a:moveTo>
                  <a:lnTo>
                    <a:pt x="670" y="165"/>
                  </a:lnTo>
                  <a:lnTo>
                    <a:pt x="752" y="206"/>
                  </a:lnTo>
                  <a:lnTo>
                    <a:pt x="837" y="165"/>
                  </a:lnTo>
                  <a:lnTo>
                    <a:pt x="752" y="42"/>
                  </a:lnTo>
                  <a:close/>
                  <a:moveTo>
                    <a:pt x="748" y="0"/>
                  </a:moveTo>
                  <a:lnTo>
                    <a:pt x="752" y="2"/>
                  </a:lnTo>
                  <a:lnTo>
                    <a:pt x="756" y="0"/>
                  </a:lnTo>
                  <a:lnTo>
                    <a:pt x="761" y="9"/>
                  </a:lnTo>
                  <a:lnTo>
                    <a:pt x="770" y="15"/>
                  </a:lnTo>
                  <a:lnTo>
                    <a:pt x="769" y="18"/>
                  </a:lnTo>
                  <a:lnTo>
                    <a:pt x="950" y="286"/>
                  </a:lnTo>
                  <a:lnTo>
                    <a:pt x="952" y="283"/>
                  </a:lnTo>
                  <a:lnTo>
                    <a:pt x="1260" y="536"/>
                  </a:lnTo>
                  <a:lnTo>
                    <a:pt x="1260" y="404"/>
                  </a:lnTo>
                  <a:lnTo>
                    <a:pt x="1339" y="404"/>
                  </a:lnTo>
                  <a:lnTo>
                    <a:pt x="1339" y="588"/>
                  </a:lnTo>
                  <a:lnTo>
                    <a:pt x="956" y="588"/>
                  </a:lnTo>
                  <a:lnTo>
                    <a:pt x="956" y="753"/>
                  </a:lnTo>
                  <a:lnTo>
                    <a:pt x="958" y="749"/>
                  </a:lnTo>
                  <a:lnTo>
                    <a:pt x="1447" y="1034"/>
                  </a:lnTo>
                  <a:lnTo>
                    <a:pt x="1447" y="922"/>
                  </a:lnTo>
                  <a:lnTo>
                    <a:pt x="1528" y="922"/>
                  </a:lnTo>
                  <a:lnTo>
                    <a:pt x="1528" y="1087"/>
                  </a:lnTo>
                  <a:lnTo>
                    <a:pt x="1530" y="1087"/>
                  </a:lnTo>
                  <a:lnTo>
                    <a:pt x="1530" y="1115"/>
                  </a:lnTo>
                  <a:lnTo>
                    <a:pt x="956" y="1115"/>
                  </a:lnTo>
                  <a:lnTo>
                    <a:pt x="956" y="1331"/>
                  </a:lnTo>
                  <a:lnTo>
                    <a:pt x="1044" y="1589"/>
                  </a:lnTo>
                  <a:lnTo>
                    <a:pt x="1049" y="1592"/>
                  </a:lnTo>
                  <a:lnTo>
                    <a:pt x="1046" y="1594"/>
                  </a:lnTo>
                  <a:lnTo>
                    <a:pt x="1185" y="2009"/>
                  </a:lnTo>
                  <a:lnTo>
                    <a:pt x="1247" y="2009"/>
                  </a:lnTo>
                  <a:lnTo>
                    <a:pt x="1247" y="2084"/>
                  </a:lnTo>
                  <a:lnTo>
                    <a:pt x="1095" y="2084"/>
                  </a:lnTo>
                  <a:lnTo>
                    <a:pt x="1095" y="2009"/>
                  </a:lnTo>
                  <a:lnTo>
                    <a:pt x="1157" y="2009"/>
                  </a:lnTo>
                  <a:lnTo>
                    <a:pt x="1145" y="1976"/>
                  </a:lnTo>
                  <a:lnTo>
                    <a:pt x="752" y="1756"/>
                  </a:lnTo>
                  <a:lnTo>
                    <a:pt x="360" y="1974"/>
                  </a:lnTo>
                  <a:lnTo>
                    <a:pt x="349" y="2009"/>
                  </a:lnTo>
                  <a:lnTo>
                    <a:pt x="413" y="2009"/>
                  </a:lnTo>
                  <a:lnTo>
                    <a:pt x="413" y="2084"/>
                  </a:lnTo>
                  <a:lnTo>
                    <a:pt x="261" y="2084"/>
                  </a:lnTo>
                  <a:lnTo>
                    <a:pt x="261" y="2009"/>
                  </a:lnTo>
                  <a:lnTo>
                    <a:pt x="319" y="2009"/>
                  </a:lnTo>
                  <a:lnTo>
                    <a:pt x="460" y="1594"/>
                  </a:lnTo>
                  <a:lnTo>
                    <a:pt x="455" y="1592"/>
                  </a:lnTo>
                  <a:lnTo>
                    <a:pt x="462" y="1589"/>
                  </a:lnTo>
                  <a:lnTo>
                    <a:pt x="549" y="1331"/>
                  </a:lnTo>
                  <a:lnTo>
                    <a:pt x="549" y="1115"/>
                  </a:lnTo>
                  <a:lnTo>
                    <a:pt x="0" y="1115"/>
                  </a:lnTo>
                  <a:lnTo>
                    <a:pt x="0" y="922"/>
                  </a:lnTo>
                  <a:lnTo>
                    <a:pt x="81" y="922"/>
                  </a:lnTo>
                  <a:lnTo>
                    <a:pt x="81" y="1021"/>
                  </a:lnTo>
                  <a:lnTo>
                    <a:pt x="549" y="751"/>
                  </a:lnTo>
                  <a:lnTo>
                    <a:pt x="549" y="588"/>
                  </a:lnTo>
                  <a:lnTo>
                    <a:pt x="167" y="588"/>
                  </a:lnTo>
                  <a:lnTo>
                    <a:pt x="167" y="404"/>
                  </a:lnTo>
                  <a:lnTo>
                    <a:pt x="248" y="404"/>
                  </a:lnTo>
                  <a:lnTo>
                    <a:pt x="248" y="532"/>
                  </a:lnTo>
                  <a:lnTo>
                    <a:pt x="554" y="286"/>
                  </a:lnTo>
                  <a:lnTo>
                    <a:pt x="736" y="18"/>
                  </a:lnTo>
                  <a:lnTo>
                    <a:pt x="734" y="15"/>
                  </a:lnTo>
                  <a:lnTo>
                    <a:pt x="743" y="9"/>
                  </a:lnTo>
                  <a:lnTo>
                    <a:pt x="74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7" name="Freeform 46"/>
            <p:cNvSpPr/>
            <p:nvPr/>
          </p:nvSpPr>
          <p:spPr>
            <a:xfrm>
              <a:off x="1888761" y="2473377"/>
              <a:ext cx="3282846" cy="722026"/>
            </a:xfrm>
            <a:custGeom>
              <a:avLst/>
              <a:gdLst>
                <a:gd name="connsiteX0" fmla="*/ 0 w 3282846"/>
                <a:gd name="connsiteY0" fmla="*/ 0 h 722026"/>
                <a:gd name="connsiteX1" fmla="*/ 1978701 w 3282846"/>
                <a:gd name="connsiteY1" fmla="*/ 614597 h 722026"/>
                <a:gd name="connsiteX2" fmla="*/ 3282846 w 3282846"/>
                <a:gd name="connsiteY2" fmla="*/ 644577 h 722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82846" h="722026">
                  <a:moveTo>
                    <a:pt x="0" y="0"/>
                  </a:moveTo>
                  <a:cubicBezTo>
                    <a:pt x="715780" y="253584"/>
                    <a:pt x="1431560" y="507168"/>
                    <a:pt x="1978701" y="614597"/>
                  </a:cubicBezTo>
                  <a:cubicBezTo>
                    <a:pt x="2525842" y="722026"/>
                    <a:pt x="2904344" y="683301"/>
                    <a:pt x="3282846" y="644577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9" name="Freeform 48"/>
            <p:cNvSpPr/>
            <p:nvPr/>
          </p:nvSpPr>
          <p:spPr>
            <a:xfrm>
              <a:off x="3792511" y="2428407"/>
              <a:ext cx="2848132" cy="829455"/>
            </a:xfrm>
            <a:custGeom>
              <a:avLst/>
              <a:gdLst>
                <a:gd name="connsiteX0" fmla="*/ 0 w 2848132"/>
                <a:gd name="connsiteY0" fmla="*/ 0 h 829455"/>
                <a:gd name="connsiteX1" fmla="*/ 1199214 w 2848132"/>
                <a:gd name="connsiteY1" fmla="*/ 719527 h 829455"/>
                <a:gd name="connsiteX2" fmla="*/ 2848132 w 2848132"/>
                <a:gd name="connsiteY2" fmla="*/ 659567 h 829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48132" h="829455">
                  <a:moveTo>
                    <a:pt x="0" y="0"/>
                  </a:moveTo>
                  <a:cubicBezTo>
                    <a:pt x="362263" y="304799"/>
                    <a:pt x="724526" y="609599"/>
                    <a:pt x="1199214" y="719527"/>
                  </a:cubicBezTo>
                  <a:cubicBezTo>
                    <a:pt x="1673902" y="829455"/>
                    <a:pt x="2261017" y="744511"/>
                    <a:pt x="2848132" y="659567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0" name="Freeform 49"/>
            <p:cNvSpPr/>
            <p:nvPr/>
          </p:nvSpPr>
          <p:spPr>
            <a:xfrm>
              <a:off x="1573967" y="3372787"/>
              <a:ext cx="3357797" cy="642079"/>
            </a:xfrm>
            <a:custGeom>
              <a:avLst/>
              <a:gdLst>
                <a:gd name="connsiteX0" fmla="*/ 0 w 3357797"/>
                <a:gd name="connsiteY0" fmla="*/ 0 h 642079"/>
                <a:gd name="connsiteX1" fmla="*/ 2263515 w 3357797"/>
                <a:gd name="connsiteY1" fmla="*/ 569626 h 642079"/>
                <a:gd name="connsiteX2" fmla="*/ 3357797 w 3357797"/>
                <a:gd name="connsiteY2" fmla="*/ 434715 h 642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57797" h="642079">
                  <a:moveTo>
                    <a:pt x="0" y="0"/>
                  </a:moveTo>
                  <a:cubicBezTo>
                    <a:pt x="851941" y="248587"/>
                    <a:pt x="1703882" y="497174"/>
                    <a:pt x="2263515" y="569626"/>
                  </a:cubicBezTo>
                  <a:cubicBezTo>
                    <a:pt x="2823148" y="642079"/>
                    <a:pt x="3090472" y="538397"/>
                    <a:pt x="3357797" y="434715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1" name="Freeform 50"/>
            <p:cNvSpPr/>
            <p:nvPr/>
          </p:nvSpPr>
          <p:spPr>
            <a:xfrm>
              <a:off x="4122295" y="3417757"/>
              <a:ext cx="2713220" cy="637083"/>
            </a:xfrm>
            <a:custGeom>
              <a:avLst/>
              <a:gdLst>
                <a:gd name="connsiteX0" fmla="*/ 0 w 2713220"/>
                <a:gd name="connsiteY0" fmla="*/ 0 h 637083"/>
                <a:gd name="connsiteX1" fmla="*/ 1184223 w 2713220"/>
                <a:gd name="connsiteY1" fmla="*/ 569627 h 637083"/>
                <a:gd name="connsiteX2" fmla="*/ 2713220 w 2713220"/>
                <a:gd name="connsiteY2" fmla="*/ 404735 h 637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13220" h="637083">
                  <a:moveTo>
                    <a:pt x="0" y="0"/>
                  </a:moveTo>
                  <a:cubicBezTo>
                    <a:pt x="366010" y="251085"/>
                    <a:pt x="732020" y="502171"/>
                    <a:pt x="1184223" y="569627"/>
                  </a:cubicBezTo>
                  <a:cubicBezTo>
                    <a:pt x="1636426" y="637083"/>
                    <a:pt x="2174823" y="520909"/>
                    <a:pt x="2713220" y="404735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5" name="Freeform 11"/>
            <p:cNvSpPr>
              <a:spLocks noEditPoints="1"/>
            </p:cNvSpPr>
            <p:nvPr/>
          </p:nvSpPr>
          <p:spPr bwMode="auto">
            <a:xfrm>
              <a:off x="1522412" y="1476530"/>
              <a:ext cx="2667000" cy="3632698"/>
            </a:xfrm>
            <a:custGeom>
              <a:avLst/>
              <a:gdLst/>
              <a:ahLst/>
              <a:cxnLst>
                <a:cxn ang="0">
                  <a:pos x="1022" y="1607"/>
                </a:cxn>
                <a:cxn ang="0">
                  <a:pos x="484" y="1607"/>
                </a:cxn>
                <a:cxn ang="0">
                  <a:pos x="994" y="1590"/>
                </a:cxn>
                <a:cxn ang="0">
                  <a:pos x="1007" y="1568"/>
                </a:cxn>
                <a:cxn ang="0">
                  <a:pos x="725" y="1436"/>
                </a:cxn>
                <a:cxn ang="0">
                  <a:pos x="752" y="1421"/>
                </a:cxn>
                <a:cxn ang="0">
                  <a:pos x="774" y="1208"/>
                </a:cxn>
                <a:cxn ang="0">
                  <a:pos x="646" y="1115"/>
                </a:cxn>
                <a:cxn ang="0">
                  <a:pos x="576" y="1115"/>
                </a:cxn>
                <a:cxn ang="0">
                  <a:pos x="576" y="1115"/>
                </a:cxn>
                <a:cxn ang="0">
                  <a:pos x="895" y="1087"/>
                </a:cxn>
                <a:cxn ang="0">
                  <a:pos x="776" y="940"/>
                </a:cxn>
                <a:cxn ang="0">
                  <a:pos x="576" y="1047"/>
                </a:cxn>
                <a:cxn ang="0">
                  <a:pos x="81" y="1052"/>
                </a:cxn>
                <a:cxn ang="0">
                  <a:pos x="539" y="1071"/>
                </a:cxn>
                <a:cxn ang="0">
                  <a:pos x="549" y="808"/>
                </a:cxn>
                <a:cxn ang="0">
                  <a:pos x="961" y="813"/>
                </a:cxn>
                <a:cxn ang="0">
                  <a:pos x="956" y="1076"/>
                </a:cxn>
                <a:cxn ang="0">
                  <a:pos x="956" y="779"/>
                </a:cxn>
                <a:cxn ang="0">
                  <a:pos x="915" y="813"/>
                </a:cxn>
                <a:cxn ang="0">
                  <a:pos x="930" y="790"/>
                </a:cxn>
                <a:cxn ang="0">
                  <a:pos x="752" y="667"/>
                </a:cxn>
                <a:cxn ang="0">
                  <a:pos x="576" y="790"/>
                </a:cxn>
                <a:cxn ang="0">
                  <a:pos x="752" y="442"/>
                </a:cxn>
                <a:cxn ang="0">
                  <a:pos x="912" y="554"/>
                </a:cxn>
                <a:cxn ang="0">
                  <a:pos x="549" y="562"/>
                </a:cxn>
                <a:cxn ang="0">
                  <a:pos x="549" y="325"/>
                </a:cxn>
                <a:cxn ang="0">
                  <a:pos x="956" y="556"/>
                </a:cxn>
                <a:cxn ang="0">
                  <a:pos x="930" y="319"/>
                </a:cxn>
                <a:cxn ang="0">
                  <a:pos x="576" y="319"/>
                </a:cxn>
                <a:cxn ang="0">
                  <a:pos x="752" y="235"/>
                </a:cxn>
                <a:cxn ang="0">
                  <a:pos x="752" y="235"/>
                </a:cxn>
                <a:cxn ang="0">
                  <a:pos x="653" y="189"/>
                </a:cxn>
                <a:cxn ang="0">
                  <a:pos x="851" y="187"/>
                </a:cxn>
                <a:cxn ang="0">
                  <a:pos x="837" y="165"/>
                </a:cxn>
                <a:cxn ang="0">
                  <a:pos x="756" y="0"/>
                </a:cxn>
                <a:cxn ang="0">
                  <a:pos x="950" y="286"/>
                </a:cxn>
                <a:cxn ang="0">
                  <a:pos x="1339" y="404"/>
                </a:cxn>
                <a:cxn ang="0">
                  <a:pos x="958" y="749"/>
                </a:cxn>
                <a:cxn ang="0">
                  <a:pos x="1528" y="1087"/>
                </a:cxn>
                <a:cxn ang="0">
                  <a:pos x="956" y="1331"/>
                </a:cxn>
                <a:cxn ang="0">
                  <a:pos x="1185" y="2009"/>
                </a:cxn>
                <a:cxn ang="0">
                  <a:pos x="1095" y="2009"/>
                </a:cxn>
                <a:cxn ang="0">
                  <a:pos x="360" y="1974"/>
                </a:cxn>
                <a:cxn ang="0">
                  <a:pos x="261" y="2084"/>
                </a:cxn>
                <a:cxn ang="0">
                  <a:pos x="455" y="1592"/>
                </a:cxn>
                <a:cxn ang="0">
                  <a:pos x="0" y="1115"/>
                </a:cxn>
                <a:cxn ang="0">
                  <a:pos x="549" y="751"/>
                </a:cxn>
                <a:cxn ang="0">
                  <a:pos x="248" y="404"/>
                </a:cxn>
                <a:cxn ang="0">
                  <a:pos x="734" y="15"/>
                </a:cxn>
              </a:cxnLst>
              <a:rect l="0" t="0" r="r" b="b"/>
              <a:pathLst>
                <a:path w="1530" h="2084">
                  <a:moveTo>
                    <a:pt x="1022" y="1607"/>
                  </a:moveTo>
                  <a:lnTo>
                    <a:pt x="780" y="1741"/>
                  </a:lnTo>
                  <a:lnTo>
                    <a:pt x="1132" y="1938"/>
                  </a:lnTo>
                  <a:lnTo>
                    <a:pt x="1022" y="1607"/>
                  </a:lnTo>
                  <a:close/>
                  <a:moveTo>
                    <a:pt x="484" y="1607"/>
                  </a:moveTo>
                  <a:lnTo>
                    <a:pt x="372" y="1938"/>
                  </a:lnTo>
                  <a:lnTo>
                    <a:pt x="725" y="1741"/>
                  </a:lnTo>
                  <a:lnTo>
                    <a:pt x="484" y="1607"/>
                  </a:lnTo>
                  <a:close/>
                  <a:moveTo>
                    <a:pt x="752" y="1453"/>
                  </a:moveTo>
                  <a:lnTo>
                    <a:pt x="510" y="1590"/>
                  </a:lnTo>
                  <a:lnTo>
                    <a:pt x="752" y="1726"/>
                  </a:lnTo>
                  <a:lnTo>
                    <a:pt x="994" y="1590"/>
                  </a:lnTo>
                  <a:lnTo>
                    <a:pt x="752" y="1453"/>
                  </a:lnTo>
                  <a:close/>
                  <a:moveTo>
                    <a:pt x="934" y="1348"/>
                  </a:moveTo>
                  <a:lnTo>
                    <a:pt x="780" y="1436"/>
                  </a:lnTo>
                  <a:lnTo>
                    <a:pt x="1007" y="1568"/>
                  </a:lnTo>
                  <a:lnTo>
                    <a:pt x="934" y="1348"/>
                  </a:lnTo>
                  <a:close/>
                  <a:moveTo>
                    <a:pt x="571" y="1348"/>
                  </a:moveTo>
                  <a:lnTo>
                    <a:pt x="497" y="1568"/>
                  </a:lnTo>
                  <a:lnTo>
                    <a:pt x="725" y="1436"/>
                  </a:lnTo>
                  <a:lnTo>
                    <a:pt x="571" y="1348"/>
                  </a:lnTo>
                  <a:close/>
                  <a:moveTo>
                    <a:pt x="752" y="1225"/>
                  </a:moveTo>
                  <a:lnTo>
                    <a:pt x="600" y="1333"/>
                  </a:lnTo>
                  <a:lnTo>
                    <a:pt x="752" y="1421"/>
                  </a:lnTo>
                  <a:lnTo>
                    <a:pt x="904" y="1333"/>
                  </a:lnTo>
                  <a:lnTo>
                    <a:pt x="752" y="1225"/>
                  </a:lnTo>
                  <a:close/>
                  <a:moveTo>
                    <a:pt x="904" y="1115"/>
                  </a:moveTo>
                  <a:lnTo>
                    <a:pt x="774" y="1208"/>
                  </a:lnTo>
                  <a:lnTo>
                    <a:pt x="930" y="1319"/>
                  </a:lnTo>
                  <a:lnTo>
                    <a:pt x="930" y="1115"/>
                  </a:lnTo>
                  <a:lnTo>
                    <a:pt x="904" y="1115"/>
                  </a:lnTo>
                  <a:close/>
                  <a:moveTo>
                    <a:pt x="646" y="1115"/>
                  </a:moveTo>
                  <a:lnTo>
                    <a:pt x="752" y="1192"/>
                  </a:lnTo>
                  <a:lnTo>
                    <a:pt x="859" y="1115"/>
                  </a:lnTo>
                  <a:lnTo>
                    <a:pt x="646" y="1115"/>
                  </a:lnTo>
                  <a:close/>
                  <a:moveTo>
                    <a:pt x="576" y="1115"/>
                  </a:moveTo>
                  <a:lnTo>
                    <a:pt x="576" y="1319"/>
                  </a:lnTo>
                  <a:lnTo>
                    <a:pt x="728" y="1208"/>
                  </a:lnTo>
                  <a:lnTo>
                    <a:pt x="600" y="1115"/>
                  </a:lnTo>
                  <a:lnTo>
                    <a:pt x="576" y="1115"/>
                  </a:lnTo>
                  <a:close/>
                  <a:moveTo>
                    <a:pt x="752" y="957"/>
                  </a:moveTo>
                  <a:lnTo>
                    <a:pt x="585" y="1071"/>
                  </a:lnTo>
                  <a:lnTo>
                    <a:pt x="609" y="1087"/>
                  </a:lnTo>
                  <a:lnTo>
                    <a:pt x="895" y="1087"/>
                  </a:lnTo>
                  <a:lnTo>
                    <a:pt x="917" y="1071"/>
                  </a:lnTo>
                  <a:lnTo>
                    <a:pt x="752" y="957"/>
                  </a:lnTo>
                  <a:close/>
                  <a:moveTo>
                    <a:pt x="930" y="836"/>
                  </a:moveTo>
                  <a:lnTo>
                    <a:pt x="776" y="940"/>
                  </a:lnTo>
                  <a:lnTo>
                    <a:pt x="930" y="1047"/>
                  </a:lnTo>
                  <a:lnTo>
                    <a:pt x="930" y="836"/>
                  </a:lnTo>
                  <a:close/>
                  <a:moveTo>
                    <a:pt x="576" y="836"/>
                  </a:moveTo>
                  <a:lnTo>
                    <a:pt x="576" y="1047"/>
                  </a:lnTo>
                  <a:lnTo>
                    <a:pt x="728" y="940"/>
                  </a:lnTo>
                  <a:lnTo>
                    <a:pt x="576" y="836"/>
                  </a:lnTo>
                  <a:close/>
                  <a:moveTo>
                    <a:pt x="549" y="780"/>
                  </a:moveTo>
                  <a:lnTo>
                    <a:pt x="81" y="1052"/>
                  </a:lnTo>
                  <a:lnTo>
                    <a:pt x="81" y="1087"/>
                  </a:lnTo>
                  <a:lnTo>
                    <a:pt x="549" y="1087"/>
                  </a:lnTo>
                  <a:lnTo>
                    <a:pt x="549" y="1078"/>
                  </a:lnTo>
                  <a:lnTo>
                    <a:pt x="539" y="1071"/>
                  </a:lnTo>
                  <a:lnTo>
                    <a:pt x="549" y="1065"/>
                  </a:lnTo>
                  <a:lnTo>
                    <a:pt x="549" y="817"/>
                  </a:lnTo>
                  <a:lnTo>
                    <a:pt x="541" y="813"/>
                  </a:lnTo>
                  <a:lnTo>
                    <a:pt x="549" y="808"/>
                  </a:lnTo>
                  <a:lnTo>
                    <a:pt x="549" y="780"/>
                  </a:lnTo>
                  <a:close/>
                  <a:moveTo>
                    <a:pt x="956" y="779"/>
                  </a:moveTo>
                  <a:lnTo>
                    <a:pt x="956" y="810"/>
                  </a:lnTo>
                  <a:lnTo>
                    <a:pt x="961" y="813"/>
                  </a:lnTo>
                  <a:lnTo>
                    <a:pt x="956" y="817"/>
                  </a:lnTo>
                  <a:lnTo>
                    <a:pt x="956" y="1065"/>
                  </a:lnTo>
                  <a:lnTo>
                    <a:pt x="965" y="1071"/>
                  </a:lnTo>
                  <a:lnTo>
                    <a:pt x="956" y="1076"/>
                  </a:lnTo>
                  <a:lnTo>
                    <a:pt x="956" y="1087"/>
                  </a:lnTo>
                  <a:lnTo>
                    <a:pt x="1447" y="1087"/>
                  </a:lnTo>
                  <a:lnTo>
                    <a:pt x="1447" y="1063"/>
                  </a:lnTo>
                  <a:lnTo>
                    <a:pt x="956" y="779"/>
                  </a:lnTo>
                  <a:close/>
                  <a:moveTo>
                    <a:pt x="752" y="698"/>
                  </a:moveTo>
                  <a:lnTo>
                    <a:pt x="589" y="813"/>
                  </a:lnTo>
                  <a:lnTo>
                    <a:pt x="752" y="926"/>
                  </a:lnTo>
                  <a:lnTo>
                    <a:pt x="915" y="813"/>
                  </a:lnTo>
                  <a:lnTo>
                    <a:pt x="752" y="698"/>
                  </a:lnTo>
                  <a:close/>
                  <a:moveTo>
                    <a:pt x="910" y="588"/>
                  </a:moveTo>
                  <a:lnTo>
                    <a:pt x="776" y="683"/>
                  </a:lnTo>
                  <a:lnTo>
                    <a:pt x="930" y="790"/>
                  </a:lnTo>
                  <a:lnTo>
                    <a:pt x="930" y="588"/>
                  </a:lnTo>
                  <a:lnTo>
                    <a:pt x="910" y="588"/>
                  </a:lnTo>
                  <a:close/>
                  <a:moveTo>
                    <a:pt x="640" y="588"/>
                  </a:moveTo>
                  <a:lnTo>
                    <a:pt x="752" y="667"/>
                  </a:lnTo>
                  <a:lnTo>
                    <a:pt x="862" y="588"/>
                  </a:lnTo>
                  <a:lnTo>
                    <a:pt x="640" y="588"/>
                  </a:lnTo>
                  <a:close/>
                  <a:moveTo>
                    <a:pt x="576" y="588"/>
                  </a:moveTo>
                  <a:lnTo>
                    <a:pt x="576" y="790"/>
                  </a:lnTo>
                  <a:lnTo>
                    <a:pt x="728" y="683"/>
                  </a:lnTo>
                  <a:lnTo>
                    <a:pt x="594" y="588"/>
                  </a:lnTo>
                  <a:lnTo>
                    <a:pt x="576" y="588"/>
                  </a:lnTo>
                  <a:close/>
                  <a:moveTo>
                    <a:pt x="752" y="442"/>
                  </a:moveTo>
                  <a:lnTo>
                    <a:pt x="593" y="554"/>
                  </a:lnTo>
                  <a:lnTo>
                    <a:pt x="602" y="562"/>
                  </a:lnTo>
                  <a:lnTo>
                    <a:pt x="901" y="562"/>
                  </a:lnTo>
                  <a:lnTo>
                    <a:pt x="912" y="554"/>
                  </a:lnTo>
                  <a:lnTo>
                    <a:pt x="752" y="442"/>
                  </a:lnTo>
                  <a:close/>
                  <a:moveTo>
                    <a:pt x="549" y="325"/>
                  </a:moveTo>
                  <a:lnTo>
                    <a:pt x="253" y="562"/>
                  </a:lnTo>
                  <a:lnTo>
                    <a:pt x="549" y="562"/>
                  </a:lnTo>
                  <a:lnTo>
                    <a:pt x="549" y="556"/>
                  </a:lnTo>
                  <a:lnTo>
                    <a:pt x="547" y="554"/>
                  </a:lnTo>
                  <a:lnTo>
                    <a:pt x="549" y="553"/>
                  </a:lnTo>
                  <a:lnTo>
                    <a:pt x="549" y="325"/>
                  </a:lnTo>
                  <a:close/>
                  <a:moveTo>
                    <a:pt x="956" y="319"/>
                  </a:moveTo>
                  <a:lnTo>
                    <a:pt x="956" y="553"/>
                  </a:lnTo>
                  <a:lnTo>
                    <a:pt x="958" y="554"/>
                  </a:lnTo>
                  <a:lnTo>
                    <a:pt x="956" y="556"/>
                  </a:lnTo>
                  <a:lnTo>
                    <a:pt x="956" y="562"/>
                  </a:lnTo>
                  <a:lnTo>
                    <a:pt x="1249" y="562"/>
                  </a:lnTo>
                  <a:lnTo>
                    <a:pt x="956" y="319"/>
                  </a:lnTo>
                  <a:close/>
                  <a:moveTo>
                    <a:pt x="930" y="319"/>
                  </a:moveTo>
                  <a:lnTo>
                    <a:pt x="776" y="426"/>
                  </a:lnTo>
                  <a:lnTo>
                    <a:pt x="930" y="534"/>
                  </a:lnTo>
                  <a:lnTo>
                    <a:pt x="930" y="319"/>
                  </a:lnTo>
                  <a:close/>
                  <a:moveTo>
                    <a:pt x="576" y="319"/>
                  </a:moveTo>
                  <a:lnTo>
                    <a:pt x="576" y="534"/>
                  </a:lnTo>
                  <a:lnTo>
                    <a:pt x="728" y="426"/>
                  </a:lnTo>
                  <a:lnTo>
                    <a:pt x="576" y="319"/>
                  </a:lnTo>
                  <a:close/>
                  <a:moveTo>
                    <a:pt x="752" y="235"/>
                  </a:moveTo>
                  <a:lnTo>
                    <a:pt x="602" y="307"/>
                  </a:lnTo>
                  <a:lnTo>
                    <a:pt x="752" y="411"/>
                  </a:lnTo>
                  <a:lnTo>
                    <a:pt x="901" y="307"/>
                  </a:lnTo>
                  <a:lnTo>
                    <a:pt x="752" y="235"/>
                  </a:lnTo>
                  <a:close/>
                  <a:moveTo>
                    <a:pt x="653" y="189"/>
                  </a:moveTo>
                  <a:lnTo>
                    <a:pt x="591" y="281"/>
                  </a:lnTo>
                  <a:lnTo>
                    <a:pt x="721" y="220"/>
                  </a:lnTo>
                  <a:lnTo>
                    <a:pt x="653" y="189"/>
                  </a:lnTo>
                  <a:close/>
                  <a:moveTo>
                    <a:pt x="851" y="187"/>
                  </a:moveTo>
                  <a:lnTo>
                    <a:pt x="783" y="220"/>
                  </a:lnTo>
                  <a:lnTo>
                    <a:pt x="915" y="283"/>
                  </a:lnTo>
                  <a:lnTo>
                    <a:pt x="851" y="187"/>
                  </a:lnTo>
                  <a:close/>
                  <a:moveTo>
                    <a:pt x="752" y="42"/>
                  </a:moveTo>
                  <a:lnTo>
                    <a:pt x="670" y="165"/>
                  </a:lnTo>
                  <a:lnTo>
                    <a:pt x="752" y="206"/>
                  </a:lnTo>
                  <a:lnTo>
                    <a:pt x="837" y="165"/>
                  </a:lnTo>
                  <a:lnTo>
                    <a:pt x="752" y="42"/>
                  </a:lnTo>
                  <a:close/>
                  <a:moveTo>
                    <a:pt x="748" y="0"/>
                  </a:moveTo>
                  <a:lnTo>
                    <a:pt x="752" y="2"/>
                  </a:lnTo>
                  <a:lnTo>
                    <a:pt x="756" y="0"/>
                  </a:lnTo>
                  <a:lnTo>
                    <a:pt x="761" y="9"/>
                  </a:lnTo>
                  <a:lnTo>
                    <a:pt x="770" y="15"/>
                  </a:lnTo>
                  <a:lnTo>
                    <a:pt x="769" y="18"/>
                  </a:lnTo>
                  <a:lnTo>
                    <a:pt x="950" y="286"/>
                  </a:lnTo>
                  <a:lnTo>
                    <a:pt x="952" y="283"/>
                  </a:lnTo>
                  <a:lnTo>
                    <a:pt x="1260" y="536"/>
                  </a:lnTo>
                  <a:lnTo>
                    <a:pt x="1260" y="404"/>
                  </a:lnTo>
                  <a:lnTo>
                    <a:pt x="1339" y="404"/>
                  </a:lnTo>
                  <a:lnTo>
                    <a:pt x="1339" y="588"/>
                  </a:lnTo>
                  <a:lnTo>
                    <a:pt x="956" y="588"/>
                  </a:lnTo>
                  <a:lnTo>
                    <a:pt x="956" y="753"/>
                  </a:lnTo>
                  <a:lnTo>
                    <a:pt x="958" y="749"/>
                  </a:lnTo>
                  <a:lnTo>
                    <a:pt x="1447" y="1034"/>
                  </a:lnTo>
                  <a:lnTo>
                    <a:pt x="1447" y="922"/>
                  </a:lnTo>
                  <a:lnTo>
                    <a:pt x="1528" y="922"/>
                  </a:lnTo>
                  <a:lnTo>
                    <a:pt x="1528" y="1087"/>
                  </a:lnTo>
                  <a:lnTo>
                    <a:pt x="1530" y="1087"/>
                  </a:lnTo>
                  <a:lnTo>
                    <a:pt x="1530" y="1115"/>
                  </a:lnTo>
                  <a:lnTo>
                    <a:pt x="956" y="1115"/>
                  </a:lnTo>
                  <a:lnTo>
                    <a:pt x="956" y="1331"/>
                  </a:lnTo>
                  <a:lnTo>
                    <a:pt x="1044" y="1589"/>
                  </a:lnTo>
                  <a:lnTo>
                    <a:pt x="1049" y="1592"/>
                  </a:lnTo>
                  <a:lnTo>
                    <a:pt x="1046" y="1594"/>
                  </a:lnTo>
                  <a:lnTo>
                    <a:pt x="1185" y="2009"/>
                  </a:lnTo>
                  <a:lnTo>
                    <a:pt x="1247" y="2009"/>
                  </a:lnTo>
                  <a:lnTo>
                    <a:pt x="1247" y="2084"/>
                  </a:lnTo>
                  <a:lnTo>
                    <a:pt x="1095" y="2084"/>
                  </a:lnTo>
                  <a:lnTo>
                    <a:pt x="1095" y="2009"/>
                  </a:lnTo>
                  <a:lnTo>
                    <a:pt x="1157" y="2009"/>
                  </a:lnTo>
                  <a:lnTo>
                    <a:pt x="1145" y="1976"/>
                  </a:lnTo>
                  <a:lnTo>
                    <a:pt x="752" y="1756"/>
                  </a:lnTo>
                  <a:lnTo>
                    <a:pt x="360" y="1974"/>
                  </a:lnTo>
                  <a:lnTo>
                    <a:pt x="349" y="2009"/>
                  </a:lnTo>
                  <a:lnTo>
                    <a:pt x="413" y="2009"/>
                  </a:lnTo>
                  <a:lnTo>
                    <a:pt x="413" y="2084"/>
                  </a:lnTo>
                  <a:lnTo>
                    <a:pt x="261" y="2084"/>
                  </a:lnTo>
                  <a:lnTo>
                    <a:pt x="261" y="2009"/>
                  </a:lnTo>
                  <a:lnTo>
                    <a:pt x="319" y="2009"/>
                  </a:lnTo>
                  <a:lnTo>
                    <a:pt x="460" y="1594"/>
                  </a:lnTo>
                  <a:lnTo>
                    <a:pt x="455" y="1592"/>
                  </a:lnTo>
                  <a:lnTo>
                    <a:pt x="462" y="1589"/>
                  </a:lnTo>
                  <a:lnTo>
                    <a:pt x="549" y="1331"/>
                  </a:lnTo>
                  <a:lnTo>
                    <a:pt x="549" y="1115"/>
                  </a:lnTo>
                  <a:lnTo>
                    <a:pt x="0" y="1115"/>
                  </a:lnTo>
                  <a:lnTo>
                    <a:pt x="0" y="922"/>
                  </a:lnTo>
                  <a:lnTo>
                    <a:pt x="81" y="922"/>
                  </a:lnTo>
                  <a:lnTo>
                    <a:pt x="81" y="1021"/>
                  </a:lnTo>
                  <a:lnTo>
                    <a:pt x="549" y="751"/>
                  </a:lnTo>
                  <a:lnTo>
                    <a:pt x="549" y="588"/>
                  </a:lnTo>
                  <a:lnTo>
                    <a:pt x="167" y="588"/>
                  </a:lnTo>
                  <a:lnTo>
                    <a:pt x="167" y="404"/>
                  </a:lnTo>
                  <a:lnTo>
                    <a:pt x="248" y="404"/>
                  </a:lnTo>
                  <a:lnTo>
                    <a:pt x="248" y="532"/>
                  </a:lnTo>
                  <a:lnTo>
                    <a:pt x="554" y="286"/>
                  </a:lnTo>
                  <a:lnTo>
                    <a:pt x="736" y="18"/>
                  </a:lnTo>
                  <a:lnTo>
                    <a:pt x="734" y="15"/>
                  </a:lnTo>
                  <a:lnTo>
                    <a:pt x="743" y="9"/>
                  </a:lnTo>
                  <a:lnTo>
                    <a:pt x="74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98" tIns="34299" rIns="68598" bIns="34299" numCol="1" anchor="t" anchorCtr="0" compatLnSpc="1">
              <a:prstTxWarp prst="textNoShape">
                <a:avLst/>
              </a:prstTxWarp>
            </a:bodyPr>
            <a:lstStyle/>
            <a:p>
              <a:pPr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2" name="Freeform 41"/>
            <p:cNvSpPr/>
            <p:nvPr/>
          </p:nvSpPr>
          <p:spPr>
            <a:xfrm>
              <a:off x="0" y="2443397"/>
              <a:ext cx="1843790" cy="47468"/>
            </a:xfrm>
            <a:custGeom>
              <a:avLst/>
              <a:gdLst>
                <a:gd name="connsiteX0" fmla="*/ 1843790 w 1843790"/>
                <a:gd name="connsiteY0" fmla="*/ 0 h 47468"/>
                <a:gd name="connsiteX1" fmla="*/ 809469 w 1843790"/>
                <a:gd name="connsiteY1" fmla="*/ 44970 h 47468"/>
                <a:gd name="connsiteX2" fmla="*/ 0 w 1843790"/>
                <a:gd name="connsiteY2" fmla="*/ 14990 h 47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3790" h="47468">
                  <a:moveTo>
                    <a:pt x="1843790" y="0"/>
                  </a:moveTo>
                  <a:cubicBezTo>
                    <a:pt x="1480278" y="21236"/>
                    <a:pt x="1116767" y="42472"/>
                    <a:pt x="809469" y="44970"/>
                  </a:cubicBezTo>
                  <a:cubicBezTo>
                    <a:pt x="502171" y="47468"/>
                    <a:pt x="251085" y="31229"/>
                    <a:pt x="0" y="14990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3" name="Freeform 42"/>
            <p:cNvSpPr/>
            <p:nvPr/>
          </p:nvSpPr>
          <p:spPr>
            <a:xfrm>
              <a:off x="-14990" y="2458387"/>
              <a:ext cx="3792511" cy="274820"/>
            </a:xfrm>
            <a:custGeom>
              <a:avLst/>
              <a:gdLst>
                <a:gd name="connsiteX0" fmla="*/ 3792511 w 3792511"/>
                <a:gd name="connsiteY0" fmla="*/ 0 h 274820"/>
                <a:gd name="connsiteX1" fmla="*/ 1484026 w 3792511"/>
                <a:gd name="connsiteY1" fmla="*/ 239843 h 274820"/>
                <a:gd name="connsiteX2" fmla="*/ 0 w 3792511"/>
                <a:gd name="connsiteY2" fmla="*/ 209862 h 27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92511" h="274820">
                  <a:moveTo>
                    <a:pt x="3792511" y="0"/>
                  </a:moveTo>
                  <a:cubicBezTo>
                    <a:pt x="2954311" y="102433"/>
                    <a:pt x="2116111" y="204866"/>
                    <a:pt x="1484026" y="239843"/>
                  </a:cubicBezTo>
                  <a:cubicBezTo>
                    <a:pt x="851941" y="274820"/>
                    <a:pt x="0" y="209862"/>
                    <a:pt x="0" y="209862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4" name="Freeform 43"/>
            <p:cNvSpPr/>
            <p:nvPr/>
          </p:nvSpPr>
          <p:spPr>
            <a:xfrm>
              <a:off x="-29980" y="3417757"/>
              <a:ext cx="1573967" cy="104931"/>
            </a:xfrm>
            <a:custGeom>
              <a:avLst/>
              <a:gdLst>
                <a:gd name="connsiteX0" fmla="*/ 1573967 w 1573967"/>
                <a:gd name="connsiteY0" fmla="*/ 0 h 104931"/>
                <a:gd name="connsiteX1" fmla="*/ 629587 w 1573967"/>
                <a:gd name="connsiteY1" fmla="*/ 89941 h 104931"/>
                <a:gd name="connsiteX2" fmla="*/ 0 w 1573967"/>
                <a:gd name="connsiteY2" fmla="*/ 89941 h 104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73967" h="104931">
                  <a:moveTo>
                    <a:pt x="1573967" y="0"/>
                  </a:moveTo>
                  <a:cubicBezTo>
                    <a:pt x="1232941" y="37475"/>
                    <a:pt x="891915" y="74951"/>
                    <a:pt x="629587" y="89941"/>
                  </a:cubicBezTo>
                  <a:cubicBezTo>
                    <a:pt x="367259" y="104931"/>
                    <a:pt x="183629" y="97436"/>
                    <a:pt x="0" y="89941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5" name="Freeform 44"/>
            <p:cNvSpPr/>
            <p:nvPr/>
          </p:nvSpPr>
          <p:spPr>
            <a:xfrm>
              <a:off x="-14990" y="3402767"/>
              <a:ext cx="4152275" cy="369758"/>
            </a:xfrm>
            <a:custGeom>
              <a:avLst/>
              <a:gdLst>
                <a:gd name="connsiteX0" fmla="*/ 4152275 w 4152275"/>
                <a:gd name="connsiteY0" fmla="*/ 0 h 369758"/>
                <a:gd name="connsiteX1" fmla="*/ 1873770 w 4152275"/>
                <a:gd name="connsiteY1" fmla="*/ 314794 h 369758"/>
                <a:gd name="connsiteX2" fmla="*/ 0 w 4152275"/>
                <a:gd name="connsiteY2" fmla="*/ 329784 h 369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52275" h="369758">
                  <a:moveTo>
                    <a:pt x="4152275" y="0"/>
                  </a:moveTo>
                  <a:cubicBezTo>
                    <a:pt x="3359045" y="129915"/>
                    <a:pt x="2565816" y="259830"/>
                    <a:pt x="1873770" y="314794"/>
                  </a:cubicBezTo>
                  <a:cubicBezTo>
                    <a:pt x="1181724" y="369758"/>
                    <a:pt x="590862" y="349771"/>
                    <a:pt x="0" y="329784"/>
                  </a:cubicBezTo>
                </a:path>
              </a:pathLst>
            </a:cu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84"/>
              <a:endParaRPr lang="en-US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3" name="Dikdörtgen 2"/>
          <p:cNvSpPr/>
          <p:nvPr/>
        </p:nvSpPr>
        <p:spPr>
          <a:xfrm>
            <a:off x="79487" y="2852936"/>
            <a:ext cx="9029017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85750" algn="just">
              <a:lnSpc>
                <a:spcPct val="150000"/>
              </a:lnSpc>
              <a:buClr>
                <a:srgbClr val="FFC000"/>
              </a:buClr>
              <a:buFont typeface="Wingdings 2" panose="05020102010507070707" pitchFamily="18" charset="2"/>
              <a:buChar char=""/>
            </a:pPr>
            <a:r>
              <a:rPr lang="tr-TR" sz="1200" dirty="0">
                <a:latin typeface="Arial" panose="020B0604020202020204" pitchFamily="34" charset="0"/>
                <a:cs typeface="Arial" panose="020B0604020202020204" pitchFamily="34" charset="0"/>
              </a:rPr>
              <a:t>Programa hedef üniversitelerin mühendislik fakültelerinin Elektrik veya </a:t>
            </a:r>
            <a:r>
              <a:rPr lang="tr-TR" sz="1200" dirty="0" err="1">
                <a:latin typeface="Arial" panose="020B0604020202020204" pitchFamily="34" charset="0"/>
                <a:cs typeface="Arial" panose="020B0604020202020204" pitchFamily="34" charset="0"/>
              </a:rPr>
              <a:t>Elektrik&amp;Elektronik</a:t>
            </a:r>
            <a:r>
              <a:rPr lang="tr-TR" sz="1200" dirty="0">
                <a:latin typeface="Arial" panose="020B0604020202020204" pitchFamily="34" charset="0"/>
                <a:cs typeface="Arial" panose="020B0604020202020204" pitchFamily="34" charset="0"/>
              </a:rPr>
              <a:t> Mühendisliği bölümlerinde eğitimlerine devam eden son sınıf veya yüksek lisans öğrencileri katılabilecektir. </a:t>
            </a:r>
            <a:endParaRPr lang="tr-TR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50000"/>
              </a:lnSpc>
              <a:buClr>
                <a:srgbClr val="FFC000"/>
              </a:buClr>
            </a:pPr>
            <a:endParaRPr lang="tr-T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-285750" algn="just">
              <a:lnSpc>
                <a:spcPct val="150000"/>
              </a:lnSpc>
              <a:buClr>
                <a:srgbClr val="FFC000"/>
              </a:buClr>
              <a:buFont typeface="Wingdings 2" panose="05020102010507070707" pitchFamily="18" charset="2"/>
              <a:buChar char=""/>
            </a:pPr>
            <a:r>
              <a:rPr lang="tr-TR" sz="1200" dirty="0">
                <a:latin typeface="Arial" panose="020B0604020202020204" pitchFamily="34" charset="0"/>
                <a:cs typeface="Arial" panose="020B0604020202020204" pitchFamily="34" charset="0"/>
              </a:rPr>
              <a:t>Programda her dağıtım fonksiyonu ve bölgesinde toplamda 8 aday mühendis yer alacaktır.</a:t>
            </a:r>
          </a:p>
          <a:p>
            <a:pPr indent="-285750" algn="just">
              <a:lnSpc>
                <a:spcPct val="150000"/>
              </a:lnSpc>
              <a:buClr>
                <a:srgbClr val="FFC000"/>
              </a:buClr>
              <a:buFont typeface="Wingdings 2" panose="05020102010507070707" pitchFamily="18" charset="2"/>
              <a:buChar char=""/>
            </a:pPr>
            <a:endParaRPr lang="tr-T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-285750" algn="just">
              <a:lnSpc>
                <a:spcPct val="150000"/>
              </a:lnSpc>
              <a:buClr>
                <a:srgbClr val="FFC000"/>
              </a:buClr>
              <a:buFont typeface="Wingdings 2" panose="05020102010507070707" pitchFamily="18" charset="2"/>
              <a:buChar char=""/>
            </a:pPr>
            <a:r>
              <a:rPr lang="tr-TR" sz="1200" dirty="0">
                <a:latin typeface="Arial" panose="020B0604020202020204" pitchFamily="34" charset="0"/>
                <a:cs typeface="Arial" panose="020B0604020202020204" pitchFamily="34" charset="0"/>
              </a:rPr>
              <a:t>Starlar okulları devam ederken haftada </a:t>
            </a:r>
            <a:r>
              <a:rPr lang="tr-T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 gün daha </a:t>
            </a:r>
            <a:r>
              <a:rPr lang="tr-TR" sz="1200" dirty="0">
                <a:latin typeface="Arial" panose="020B0604020202020204" pitchFamily="34" charset="0"/>
                <a:cs typeface="Arial" panose="020B0604020202020204" pitchFamily="34" charset="0"/>
              </a:rPr>
              <a:t>önce belirlenmiş iş programı doğrultusunda dağıtım fonksiyonlarında 6 ay süresince </a:t>
            </a:r>
            <a:r>
              <a:rPr lang="tr-T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çalışacaktır. 3 </a:t>
            </a:r>
            <a:r>
              <a:rPr lang="tr-TR" sz="1200" dirty="0">
                <a:latin typeface="Arial" panose="020B0604020202020204" pitchFamily="34" charset="0"/>
                <a:cs typeface="Arial" panose="020B0604020202020204" pitchFamily="34" charset="0"/>
              </a:rPr>
              <a:t>dönemden </a:t>
            </a:r>
            <a:r>
              <a:rPr lang="tr-T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oluşan bu sürede her </a:t>
            </a:r>
            <a:r>
              <a:rPr lang="tr-TR" sz="1200" dirty="0">
                <a:latin typeface="Arial" panose="020B0604020202020204" pitchFamily="34" charset="0"/>
                <a:cs typeface="Arial" panose="020B0604020202020204" pitchFamily="34" charset="0"/>
              </a:rPr>
              <a:t>2 ayın sonunda </a:t>
            </a:r>
            <a:r>
              <a:rPr lang="tr-T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farklı bir fonksiyonu deneyimlemek üzere diğer bir fonksiyona geçiş yapılacaktır. 7</a:t>
            </a:r>
            <a:r>
              <a:rPr lang="tr-TR" sz="1200" dirty="0">
                <a:latin typeface="Arial" panose="020B0604020202020204" pitchFamily="34" charset="0"/>
                <a:cs typeface="Arial" panose="020B0604020202020204" pitchFamily="34" charset="0"/>
              </a:rPr>
              <a:t>. ay ise proje hazırlık ayı olacaktır.</a:t>
            </a:r>
          </a:p>
          <a:p>
            <a:pPr indent="-285750" algn="just">
              <a:lnSpc>
                <a:spcPct val="150000"/>
              </a:lnSpc>
              <a:buClr>
                <a:srgbClr val="FFC000"/>
              </a:buClr>
              <a:buFont typeface="Wingdings 2" panose="05020102010507070707" pitchFamily="18" charset="2"/>
              <a:buChar char=""/>
            </a:pPr>
            <a:endParaRPr lang="tr-T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-285750" algn="just">
              <a:lnSpc>
                <a:spcPct val="150000"/>
              </a:lnSpc>
              <a:buClr>
                <a:srgbClr val="FFC000"/>
              </a:buClr>
              <a:buFont typeface="Wingdings 2" panose="05020102010507070707" pitchFamily="18" charset="2"/>
              <a:buChar char=""/>
            </a:pPr>
            <a:r>
              <a:rPr lang="tr-TR" sz="1200" dirty="0">
                <a:latin typeface="Arial" panose="020B0604020202020204" pitchFamily="34" charset="0"/>
                <a:cs typeface="Arial" panose="020B0604020202020204" pitchFamily="34" charset="0"/>
              </a:rPr>
              <a:t> Starlar program süresince dağıtım bünyesindeki tüm fonksiyonlarımız hakkında bilgi edinip ilgi alanlarını keşfederken, kendilerine atanan eğitim koçlarının da desteği ile süreçlere katkıda bulunacak projeler </a:t>
            </a:r>
            <a:r>
              <a:rPr lang="tr-T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geliştirebileceklerdir</a:t>
            </a:r>
            <a:r>
              <a:rPr lang="tr-TR" sz="1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indent="-285750" algn="just">
              <a:lnSpc>
                <a:spcPct val="150000"/>
              </a:lnSpc>
              <a:buClr>
                <a:srgbClr val="FFC000"/>
              </a:buClr>
              <a:buFont typeface="Wingdings 2" panose="05020102010507070707" pitchFamily="18" charset="2"/>
              <a:buChar char=""/>
            </a:pPr>
            <a:endParaRPr lang="tr-TR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-285750" algn="just">
              <a:lnSpc>
                <a:spcPct val="150000"/>
              </a:lnSpc>
              <a:buClr>
                <a:srgbClr val="FFC000"/>
              </a:buClr>
              <a:buFont typeface="Wingdings 2" panose="05020102010507070707" pitchFamily="18" charset="2"/>
              <a:buChar char=""/>
            </a:pPr>
            <a:r>
              <a:rPr lang="tr-TR" sz="12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tr-T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1200" dirty="0">
                <a:latin typeface="Arial" panose="020B0604020202020204" pitchFamily="34" charset="0"/>
                <a:cs typeface="Arial" panose="020B0604020202020204" pitchFamily="34" charset="0"/>
              </a:rPr>
              <a:t>ayın sonunda, </a:t>
            </a:r>
            <a:r>
              <a:rPr lang="tr-TR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programı tamamlamış olan </a:t>
            </a:r>
            <a:r>
              <a:rPr lang="tr-TR" sz="1200" dirty="0">
                <a:latin typeface="Arial" panose="020B0604020202020204" pitchFamily="34" charset="0"/>
                <a:cs typeface="Arial" panose="020B0604020202020204" pitchFamily="34" charset="0"/>
              </a:rPr>
              <a:t>ve yapılan değerlendirmeler sonucu olumlu bulunan starlar giriş seviyesi uzman/mühendis kadrolarında iş imkanı bulabileceklerdir.</a:t>
            </a:r>
          </a:p>
        </p:txBody>
      </p:sp>
    </p:spTree>
    <p:extLst>
      <p:ext uri="{BB962C8B-B14F-4D97-AF65-F5344CB8AC3E}">
        <p14:creationId xmlns:p14="http://schemas.microsoft.com/office/powerpoint/2010/main" val="3148246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Dikdörtgen 41"/>
          <p:cNvSpPr/>
          <p:nvPr/>
        </p:nvSpPr>
        <p:spPr>
          <a:xfrm>
            <a:off x="2653424" y="1484784"/>
            <a:ext cx="3928475" cy="3962051"/>
          </a:xfrm>
          <a:prstGeom prst="rect">
            <a:avLst/>
          </a:prstGeom>
          <a:solidFill>
            <a:srgbClr val="FF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7" name="Freeform 6"/>
          <p:cNvSpPr/>
          <p:nvPr/>
        </p:nvSpPr>
        <p:spPr>
          <a:xfrm>
            <a:off x="5508104" y="836712"/>
            <a:ext cx="3560885" cy="5155835"/>
          </a:xfrm>
          <a:custGeom>
            <a:avLst/>
            <a:gdLst>
              <a:gd name="connsiteX0" fmla="*/ 3903784 w 4747846"/>
              <a:gd name="connsiteY0" fmla="*/ 0 h 6869723"/>
              <a:gd name="connsiteX1" fmla="*/ 0 w 4747846"/>
              <a:gd name="connsiteY1" fmla="*/ 3892061 h 6869723"/>
              <a:gd name="connsiteX2" fmla="*/ 293077 w 4747846"/>
              <a:gd name="connsiteY2" fmla="*/ 5767754 h 6869723"/>
              <a:gd name="connsiteX3" fmla="*/ 668215 w 4747846"/>
              <a:gd name="connsiteY3" fmla="*/ 6858000 h 6869723"/>
              <a:gd name="connsiteX4" fmla="*/ 4747846 w 4747846"/>
              <a:gd name="connsiteY4" fmla="*/ 6869723 h 6869723"/>
              <a:gd name="connsiteX5" fmla="*/ 4736123 w 4747846"/>
              <a:gd name="connsiteY5" fmla="*/ 0 h 6869723"/>
              <a:gd name="connsiteX6" fmla="*/ 3903784 w 4747846"/>
              <a:gd name="connsiteY6" fmla="*/ 0 h 6869723"/>
              <a:gd name="connsiteX0" fmla="*/ 3903784 w 4747846"/>
              <a:gd name="connsiteY0" fmla="*/ 0 h 6869723"/>
              <a:gd name="connsiteX1" fmla="*/ 0 w 4747846"/>
              <a:gd name="connsiteY1" fmla="*/ 3892061 h 6869723"/>
              <a:gd name="connsiteX2" fmla="*/ 293077 w 4747846"/>
              <a:gd name="connsiteY2" fmla="*/ 5767754 h 6869723"/>
              <a:gd name="connsiteX3" fmla="*/ 668215 w 4747846"/>
              <a:gd name="connsiteY3" fmla="*/ 6858000 h 6869723"/>
              <a:gd name="connsiteX4" fmla="*/ 4747846 w 4747846"/>
              <a:gd name="connsiteY4" fmla="*/ 6869723 h 6869723"/>
              <a:gd name="connsiteX5" fmla="*/ 4741408 w 4747846"/>
              <a:gd name="connsiteY5" fmla="*/ 0 h 6869723"/>
              <a:gd name="connsiteX6" fmla="*/ 3903784 w 4747846"/>
              <a:gd name="connsiteY6" fmla="*/ 0 h 6869723"/>
              <a:gd name="connsiteX0" fmla="*/ 3903784 w 4747846"/>
              <a:gd name="connsiteY0" fmla="*/ 0 h 6874446"/>
              <a:gd name="connsiteX1" fmla="*/ 0 w 4747846"/>
              <a:gd name="connsiteY1" fmla="*/ 3892061 h 6874446"/>
              <a:gd name="connsiteX2" fmla="*/ 293077 w 4747846"/>
              <a:gd name="connsiteY2" fmla="*/ 5767754 h 6874446"/>
              <a:gd name="connsiteX3" fmla="*/ 678083 w 4747846"/>
              <a:gd name="connsiteY3" fmla="*/ 6874446 h 6874446"/>
              <a:gd name="connsiteX4" fmla="*/ 4747846 w 4747846"/>
              <a:gd name="connsiteY4" fmla="*/ 6869723 h 6874446"/>
              <a:gd name="connsiteX5" fmla="*/ 4741408 w 4747846"/>
              <a:gd name="connsiteY5" fmla="*/ 0 h 6874446"/>
              <a:gd name="connsiteX6" fmla="*/ 3903784 w 4747846"/>
              <a:gd name="connsiteY6" fmla="*/ 0 h 68744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47846" h="6874446">
                <a:moveTo>
                  <a:pt x="3903784" y="0"/>
                </a:moveTo>
                <a:lnTo>
                  <a:pt x="0" y="3892061"/>
                </a:lnTo>
                <a:lnTo>
                  <a:pt x="293077" y="5767754"/>
                </a:lnTo>
                <a:lnTo>
                  <a:pt x="678083" y="6874446"/>
                </a:lnTo>
                <a:lnTo>
                  <a:pt x="4747846" y="6869723"/>
                </a:lnTo>
                <a:cubicBezTo>
                  <a:pt x="4743938" y="4579815"/>
                  <a:pt x="4745316" y="2289908"/>
                  <a:pt x="4741408" y="0"/>
                </a:cubicBezTo>
                <a:lnTo>
                  <a:pt x="3903784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  <a:effectLst>
            <a:outerShdw blurRad="330200" dir="13260000" sx="104000" sy="104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b="1" dirty="0">
              <a:solidFill>
                <a:srgbClr val="E7EBEE"/>
              </a:solidFill>
              <a:latin typeface="Calibri" panose="020F0502020204030204"/>
            </a:endParaRPr>
          </a:p>
        </p:txBody>
      </p:sp>
      <p:sp>
        <p:nvSpPr>
          <p:cNvPr id="6" name="Freeform 5"/>
          <p:cNvSpPr/>
          <p:nvPr/>
        </p:nvSpPr>
        <p:spPr>
          <a:xfrm>
            <a:off x="2482484" y="4379655"/>
            <a:ext cx="5119322" cy="1617785"/>
          </a:xfrm>
          <a:custGeom>
            <a:avLst/>
            <a:gdLst>
              <a:gd name="connsiteX0" fmla="*/ 1113693 w 6787662"/>
              <a:gd name="connsiteY0" fmla="*/ 867508 h 2157046"/>
              <a:gd name="connsiteX1" fmla="*/ 2696308 w 6787662"/>
              <a:gd name="connsiteY1" fmla="*/ 0 h 2157046"/>
              <a:gd name="connsiteX2" fmla="*/ 6787662 w 6787662"/>
              <a:gd name="connsiteY2" fmla="*/ 2098431 h 2157046"/>
              <a:gd name="connsiteX3" fmla="*/ 6670431 w 6787662"/>
              <a:gd name="connsiteY3" fmla="*/ 2157046 h 2157046"/>
              <a:gd name="connsiteX4" fmla="*/ 0 w 6787662"/>
              <a:gd name="connsiteY4" fmla="*/ 2133600 h 2157046"/>
              <a:gd name="connsiteX5" fmla="*/ 1113693 w 6787662"/>
              <a:gd name="connsiteY5" fmla="*/ 867508 h 2157046"/>
              <a:gd name="connsiteX0" fmla="*/ 1113693 w 6825762"/>
              <a:gd name="connsiteY0" fmla="*/ 867508 h 2157046"/>
              <a:gd name="connsiteX1" fmla="*/ 2696308 w 6825762"/>
              <a:gd name="connsiteY1" fmla="*/ 0 h 2157046"/>
              <a:gd name="connsiteX2" fmla="*/ 6825762 w 6825762"/>
              <a:gd name="connsiteY2" fmla="*/ 2149231 h 2157046"/>
              <a:gd name="connsiteX3" fmla="*/ 6670431 w 6825762"/>
              <a:gd name="connsiteY3" fmla="*/ 2157046 h 2157046"/>
              <a:gd name="connsiteX4" fmla="*/ 0 w 6825762"/>
              <a:gd name="connsiteY4" fmla="*/ 2133600 h 2157046"/>
              <a:gd name="connsiteX5" fmla="*/ 1113693 w 6825762"/>
              <a:gd name="connsiteY5" fmla="*/ 867508 h 2157046"/>
              <a:gd name="connsiteX0" fmla="*/ 1113693 w 6825762"/>
              <a:gd name="connsiteY0" fmla="*/ 867508 h 2157046"/>
              <a:gd name="connsiteX1" fmla="*/ 2696308 w 6825762"/>
              <a:gd name="connsiteY1" fmla="*/ 0 h 2157046"/>
              <a:gd name="connsiteX2" fmla="*/ 6825762 w 6825762"/>
              <a:gd name="connsiteY2" fmla="*/ 2149231 h 2157046"/>
              <a:gd name="connsiteX3" fmla="*/ 6670431 w 6825762"/>
              <a:gd name="connsiteY3" fmla="*/ 2157046 h 2157046"/>
              <a:gd name="connsiteX4" fmla="*/ 0 w 6825762"/>
              <a:gd name="connsiteY4" fmla="*/ 2139950 h 2157046"/>
              <a:gd name="connsiteX5" fmla="*/ 1113693 w 6825762"/>
              <a:gd name="connsiteY5" fmla="*/ 867508 h 2157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25762" h="2157046">
                <a:moveTo>
                  <a:pt x="1113693" y="867508"/>
                </a:moveTo>
                <a:lnTo>
                  <a:pt x="2696308" y="0"/>
                </a:lnTo>
                <a:lnTo>
                  <a:pt x="6825762" y="2149231"/>
                </a:lnTo>
                <a:lnTo>
                  <a:pt x="6670431" y="2157046"/>
                </a:lnTo>
                <a:lnTo>
                  <a:pt x="0" y="2139950"/>
                </a:lnTo>
                <a:lnTo>
                  <a:pt x="1113693" y="867508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  <a:effectLst>
            <a:outerShdw blurRad="330200" dir="13260000" sx="104000" sy="104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b="1" dirty="0">
              <a:solidFill>
                <a:srgbClr val="E7EBEE"/>
              </a:solidFill>
              <a:latin typeface="Calibri" panose="020F0502020204030204"/>
            </a:endParaRPr>
          </a:p>
        </p:txBody>
      </p:sp>
      <p:sp>
        <p:nvSpPr>
          <p:cNvPr id="5" name="Freeform 4"/>
          <p:cNvSpPr/>
          <p:nvPr/>
        </p:nvSpPr>
        <p:spPr>
          <a:xfrm>
            <a:off x="-17585" y="3140968"/>
            <a:ext cx="3640016" cy="2857500"/>
          </a:xfrm>
          <a:custGeom>
            <a:avLst/>
            <a:gdLst>
              <a:gd name="connsiteX0" fmla="*/ 4091354 w 4853354"/>
              <a:gd name="connsiteY0" fmla="*/ 0 h 3810000"/>
              <a:gd name="connsiteX1" fmla="*/ 4853354 w 4853354"/>
              <a:gd name="connsiteY1" fmla="*/ 703385 h 3810000"/>
              <a:gd name="connsiteX2" fmla="*/ 4314092 w 4853354"/>
              <a:gd name="connsiteY2" fmla="*/ 3810000 h 3810000"/>
              <a:gd name="connsiteX3" fmla="*/ 23446 w 4853354"/>
              <a:gd name="connsiteY3" fmla="*/ 3810000 h 3810000"/>
              <a:gd name="connsiteX4" fmla="*/ 0 w 4853354"/>
              <a:gd name="connsiteY4" fmla="*/ 679938 h 3810000"/>
              <a:gd name="connsiteX5" fmla="*/ 4091354 w 4853354"/>
              <a:gd name="connsiteY5" fmla="*/ 0 h 3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53354" h="3810000">
                <a:moveTo>
                  <a:pt x="4091354" y="0"/>
                </a:moveTo>
                <a:lnTo>
                  <a:pt x="4853354" y="703385"/>
                </a:lnTo>
                <a:lnTo>
                  <a:pt x="4314092" y="3810000"/>
                </a:lnTo>
                <a:lnTo>
                  <a:pt x="23446" y="3810000"/>
                </a:lnTo>
                <a:lnTo>
                  <a:pt x="0" y="679938"/>
                </a:lnTo>
                <a:lnTo>
                  <a:pt x="4091354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  <a:effectLst>
            <a:outerShdw blurRad="330200" dir="13260000" sx="104000" sy="104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b="1">
              <a:solidFill>
                <a:srgbClr val="E7EBEE"/>
              </a:solidFill>
              <a:latin typeface="Calibri" panose="020F0502020204030204"/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2815733" y="3611811"/>
            <a:ext cx="623058" cy="618693"/>
            <a:chOff x="3379975" y="3584521"/>
            <a:chExt cx="1104405" cy="1128156"/>
          </a:xfrm>
        </p:grpSpPr>
        <p:sp>
          <p:nvSpPr>
            <p:cNvPr id="9" name="Oval 8"/>
            <p:cNvSpPr/>
            <p:nvPr/>
          </p:nvSpPr>
          <p:spPr>
            <a:xfrm>
              <a:off x="3379975" y="3584521"/>
              <a:ext cx="1104405" cy="112815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srgbClr val="E7EBEE"/>
                </a:solidFill>
                <a:latin typeface="Calibri" panose="020F0502020204030204"/>
              </a:endParaRPr>
            </a:p>
          </p:txBody>
        </p:sp>
        <p:grpSp>
          <p:nvGrpSpPr>
            <p:cNvPr id="23" name="Group 20"/>
            <p:cNvGrpSpPr>
              <a:grpSpLocks noChangeAspect="1"/>
            </p:cNvGrpSpPr>
            <p:nvPr/>
          </p:nvGrpSpPr>
          <p:grpSpPr bwMode="auto">
            <a:xfrm>
              <a:off x="3634098" y="3887645"/>
              <a:ext cx="617224" cy="591437"/>
              <a:chOff x="-566" y="375"/>
              <a:chExt cx="742" cy="711"/>
            </a:xfrm>
            <a:solidFill>
              <a:schemeClr val="accent2"/>
            </a:solidFill>
          </p:grpSpPr>
          <p:sp>
            <p:nvSpPr>
              <p:cNvPr id="24" name="Freeform 22"/>
              <p:cNvSpPr>
                <a:spLocks noEditPoints="1"/>
              </p:cNvSpPr>
              <p:nvPr/>
            </p:nvSpPr>
            <p:spPr bwMode="auto">
              <a:xfrm>
                <a:off x="-566" y="375"/>
                <a:ext cx="420" cy="699"/>
              </a:xfrm>
              <a:custGeom>
                <a:avLst/>
                <a:gdLst>
                  <a:gd name="T0" fmla="*/ 849 w 2100"/>
                  <a:gd name="T1" fmla="*/ 2000 h 3496"/>
                  <a:gd name="T2" fmla="*/ 1179 w 2100"/>
                  <a:gd name="T3" fmla="*/ 1410 h 3496"/>
                  <a:gd name="T4" fmla="*/ 382 w 2100"/>
                  <a:gd name="T5" fmla="*/ 921 h 3496"/>
                  <a:gd name="T6" fmla="*/ 712 w 2100"/>
                  <a:gd name="T7" fmla="*/ 2000 h 3496"/>
                  <a:gd name="T8" fmla="*/ 382 w 2100"/>
                  <a:gd name="T9" fmla="*/ 921 h 3496"/>
                  <a:gd name="T10" fmla="*/ 1312 w 2100"/>
                  <a:gd name="T11" fmla="*/ 2000 h 3496"/>
                  <a:gd name="T12" fmla="*/ 1642 w 2100"/>
                  <a:gd name="T13" fmla="*/ 387 h 3496"/>
                  <a:gd name="T14" fmla="*/ 834 w 2100"/>
                  <a:gd name="T15" fmla="*/ 0 h 3496"/>
                  <a:gd name="T16" fmla="*/ 1195 w 2100"/>
                  <a:gd name="T17" fmla="*/ 122 h 3496"/>
                  <a:gd name="T18" fmla="*/ 2100 w 2100"/>
                  <a:gd name="T19" fmla="*/ 1029 h 3496"/>
                  <a:gd name="T20" fmla="*/ 2035 w 2100"/>
                  <a:gd name="T21" fmla="*/ 1003 h 3496"/>
                  <a:gd name="T22" fmla="*/ 1964 w 2100"/>
                  <a:gd name="T23" fmla="*/ 996 h 3496"/>
                  <a:gd name="T24" fmla="*/ 1893 w 2100"/>
                  <a:gd name="T25" fmla="*/ 1007 h 3496"/>
                  <a:gd name="T26" fmla="*/ 1826 w 2100"/>
                  <a:gd name="T27" fmla="*/ 1037 h 3496"/>
                  <a:gd name="T28" fmla="*/ 1771 w 2100"/>
                  <a:gd name="T29" fmla="*/ 1083 h 3496"/>
                  <a:gd name="T30" fmla="*/ 1728 w 2100"/>
                  <a:gd name="T31" fmla="*/ 1148 h 3496"/>
                  <a:gd name="T32" fmla="*/ 1707 w 2100"/>
                  <a:gd name="T33" fmla="*/ 1219 h 3496"/>
                  <a:gd name="T34" fmla="*/ 1706 w 2100"/>
                  <a:gd name="T35" fmla="*/ 1293 h 3496"/>
                  <a:gd name="T36" fmla="*/ 1725 w 2100"/>
                  <a:gd name="T37" fmla="*/ 1365 h 3496"/>
                  <a:gd name="T38" fmla="*/ 1765 w 2100"/>
                  <a:gd name="T39" fmla="*/ 1429 h 3496"/>
                  <a:gd name="T40" fmla="*/ 2100 w 2100"/>
                  <a:gd name="T41" fmla="*/ 1731 h 3496"/>
                  <a:gd name="T42" fmla="*/ 1551 w 2100"/>
                  <a:gd name="T43" fmla="*/ 2525 h 3496"/>
                  <a:gd name="T44" fmla="*/ 1926 w 2100"/>
                  <a:gd name="T45" fmla="*/ 3324 h 3496"/>
                  <a:gd name="T46" fmla="*/ 1937 w 2100"/>
                  <a:gd name="T47" fmla="*/ 3370 h 3496"/>
                  <a:gd name="T48" fmla="*/ 1929 w 2100"/>
                  <a:gd name="T49" fmla="*/ 3416 h 3496"/>
                  <a:gd name="T50" fmla="*/ 1906 w 2100"/>
                  <a:gd name="T51" fmla="*/ 3455 h 3496"/>
                  <a:gd name="T52" fmla="*/ 1868 w 2100"/>
                  <a:gd name="T53" fmla="*/ 3484 h 3496"/>
                  <a:gd name="T54" fmla="*/ 1817 w 2100"/>
                  <a:gd name="T55" fmla="*/ 3496 h 3496"/>
                  <a:gd name="T56" fmla="*/ 1773 w 2100"/>
                  <a:gd name="T57" fmla="*/ 3488 h 3496"/>
                  <a:gd name="T58" fmla="*/ 1735 w 2100"/>
                  <a:gd name="T59" fmla="*/ 3463 h 3496"/>
                  <a:gd name="T60" fmla="*/ 1708 w 2100"/>
                  <a:gd name="T61" fmla="*/ 3427 h 3496"/>
                  <a:gd name="T62" fmla="*/ 1285 w 2100"/>
                  <a:gd name="T63" fmla="*/ 2525 h 3496"/>
                  <a:gd name="T64" fmla="*/ 914 w 2100"/>
                  <a:gd name="T65" fmla="*/ 2526 h 3496"/>
                  <a:gd name="T66" fmla="*/ 478 w 2100"/>
                  <a:gd name="T67" fmla="*/ 3447 h 3496"/>
                  <a:gd name="T68" fmla="*/ 444 w 2100"/>
                  <a:gd name="T69" fmla="*/ 3478 h 3496"/>
                  <a:gd name="T70" fmla="*/ 401 w 2100"/>
                  <a:gd name="T71" fmla="*/ 3494 h 3496"/>
                  <a:gd name="T72" fmla="*/ 354 w 2100"/>
                  <a:gd name="T73" fmla="*/ 3492 h 3496"/>
                  <a:gd name="T74" fmla="*/ 311 w 2100"/>
                  <a:gd name="T75" fmla="*/ 3471 h 3496"/>
                  <a:gd name="T76" fmla="*/ 280 w 2100"/>
                  <a:gd name="T77" fmla="*/ 3437 h 3496"/>
                  <a:gd name="T78" fmla="*/ 264 w 2100"/>
                  <a:gd name="T79" fmla="*/ 3393 h 3496"/>
                  <a:gd name="T80" fmla="*/ 266 w 2100"/>
                  <a:gd name="T81" fmla="*/ 3346 h 3496"/>
                  <a:gd name="T82" fmla="*/ 649 w 2100"/>
                  <a:gd name="T83" fmla="*/ 2525 h 3496"/>
                  <a:gd name="T84" fmla="*/ 0 w 2100"/>
                  <a:gd name="T85" fmla="*/ 122 h 3496"/>
                  <a:gd name="T86" fmla="*/ 834 w 2100"/>
                  <a:gd name="T87" fmla="*/ 0 h 3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100" h="3496">
                    <a:moveTo>
                      <a:pt x="849" y="1410"/>
                    </a:moveTo>
                    <a:lnTo>
                      <a:pt x="849" y="2000"/>
                    </a:lnTo>
                    <a:lnTo>
                      <a:pt x="1179" y="2000"/>
                    </a:lnTo>
                    <a:lnTo>
                      <a:pt x="1179" y="1410"/>
                    </a:lnTo>
                    <a:lnTo>
                      <a:pt x="849" y="1410"/>
                    </a:lnTo>
                    <a:close/>
                    <a:moveTo>
                      <a:pt x="382" y="921"/>
                    </a:moveTo>
                    <a:lnTo>
                      <a:pt x="382" y="2000"/>
                    </a:lnTo>
                    <a:lnTo>
                      <a:pt x="712" y="2000"/>
                    </a:lnTo>
                    <a:lnTo>
                      <a:pt x="712" y="921"/>
                    </a:lnTo>
                    <a:lnTo>
                      <a:pt x="382" y="921"/>
                    </a:lnTo>
                    <a:close/>
                    <a:moveTo>
                      <a:pt x="1312" y="387"/>
                    </a:moveTo>
                    <a:lnTo>
                      <a:pt x="1312" y="2000"/>
                    </a:lnTo>
                    <a:lnTo>
                      <a:pt x="1642" y="2000"/>
                    </a:lnTo>
                    <a:lnTo>
                      <a:pt x="1642" y="387"/>
                    </a:lnTo>
                    <a:lnTo>
                      <a:pt x="1312" y="387"/>
                    </a:lnTo>
                    <a:close/>
                    <a:moveTo>
                      <a:pt x="834" y="0"/>
                    </a:moveTo>
                    <a:lnTo>
                      <a:pt x="1195" y="0"/>
                    </a:lnTo>
                    <a:lnTo>
                      <a:pt x="1195" y="122"/>
                    </a:lnTo>
                    <a:lnTo>
                      <a:pt x="2100" y="122"/>
                    </a:lnTo>
                    <a:lnTo>
                      <a:pt x="2100" y="1029"/>
                    </a:lnTo>
                    <a:lnTo>
                      <a:pt x="2068" y="1014"/>
                    </a:lnTo>
                    <a:lnTo>
                      <a:pt x="2035" y="1003"/>
                    </a:lnTo>
                    <a:lnTo>
                      <a:pt x="1999" y="998"/>
                    </a:lnTo>
                    <a:lnTo>
                      <a:pt x="1964" y="996"/>
                    </a:lnTo>
                    <a:lnTo>
                      <a:pt x="1928" y="1000"/>
                    </a:lnTo>
                    <a:lnTo>
                      <a:pt x="1893" y="1007"/>
                    </a:lnTo>
                    <a:lnTo>
                      <a:pt x="1858" y="1019"/>
                    </a:lnTo>
                    <a:lnTo>
                      <a:pt x="1826" y="1037"/>
                    </a:lnTo>
                    <a:lnTo>
                      <a:pt x="1797" y="1057"/>
                    </a:lnTo>
                    <a:lnTo>
                      <a:pt x="1771" y="1083"/>
                    </a:lnTo>
                    <a:lnTo>
                      <a:pt x="1747" y="1114"/>
                    </a:lnTo>
                    <a:lnTo>
                      <a:pt x="1728" y="1148"/>
                    </a:lnTo>
                    <a:lnTo>
                      <a:pt x="1715" y="1183"/>
                    </a:lnTo>
                    <a:lnTo>
                      <a:pt x="1707" y="1219"/>
                    </a:lnTo>
                    <a:lnTo>
                      <a:pt x="1703" y="1256"/>
                    </a:lnTo>
                    <a:lnTo>
                      <a:pt x="1706" y="1293"/>
                    </a:lnTo>
                    <a:lnTo>
                      <a:pt x="1714" y="1330"/>
                    </a:lnTo>
                    <a:lnTo>
                      <a:pt x="1725" y="1365"/>
                    </a:lnTo>
                    <a:lnTo>
                      <a:pt x="1742" y="1398"/>
                    </a:lnTo>
                    <a:lnTo>
                      <a:pt x="1765" y="1429"/>
                    </a:lnTo>
                    <a:lnTo>
                      <a:pt x="1793" y="1458"/>
                    </a:lnTo>
                    <a:lnTo>
                      <a:pt x="2100" y="1731"/>
                    </a:lnTo>
                    <a:lnTo>
                      <a:pt x="2100" y="2525"/>
                    </a:lnTo>
                    <a:lnTo>
                      <a:pt x="1551" y="2525"/>
                    </a:lnTo>
                    <a:lnTo>
                      <a:pt x="1551" y="2526"/>
                    </a:lnTo>
                    <a:lnTo>
                      <a:pt x="1926" y="3324"/>
                    </a:lnTo>
                    <a:lnTo>
                      <a:pt x="1934" y="3347"/>
                    </a:lnTo>
                    <a:lnTo>
                      <a:pt x="1937" y="3370"/>
                    </a:lnTo>
                    <a:lnTo>
                      <a:pt x="1935" y="3393"/>
                    </a:lnTo>
                    <a:lnTo>
                      <a:pt x="1929" y="3416"/>
                    </a:lnTo>
                    <a:lnTo>
                      <a:pt x="1920" y="3437"/>
                    </a:lnTo>
                    <a:lnTo>
                      <a:pt x="1906" y="3455"/>
                    </a:lnTo>
                    <a:lnTo>
                      <a:pt x="1889" y="3471"/>
                    </a:lnTo>
                    <a:lnTo>
                      <a:pt x="1868" y="3484"/>
                    </a:lnTo>
                    <a:lnTo>
                      <a:pt x="1842" y="3493"/>
                    </a:lnTo>
                    <a:lnTo>
                      <a:pt x="1817" y="3496"/>
                    </a:lnTo>
                    <a:lnTo>
                      <a:pt x="1794" y="3493"/>
                    </a:lnTo>
                    <a:lnTo>
                      <a:pt x="1773" y="3488"/>
                    </a:lnTo>
                    <a:lnTo>
                      <a:pt x="1753" y="3477"/>
                    </a:lnTo>
                    <a:lnTo>
                      <a:pt x="1735" y="3463"/>
                    </a:lnTo>
                    <a:lnTo>
                      <a:pt x="1719" y="3447"/>
                    </a:lnTo>
                    <a:lnTo>
                      <a:pt x="1708" y="3427"/>
                    </a:lnTo>
                    <a:lnTo>
                      <a:pt x="1285" y="2526"/>
                    </a:lnTo>
                    <a:lnTo>
                      <a:pt x="1285" y="2525"/>
                    </a:lnTo>
                    <a:lnTo>
                      <a:pt x="914" y="2525"/>
                    </a:lnTo>
                    <a:lnTo>
                      <a:pt x="914" y="2526"/>
                    </a:lnTo>
                    <a:lnTo>
                      <a:pt x="491" y="3427"/>
                    </a:lnTo>
                    <a:lnTo>
                      <a:pt x="478" y="3447"/>
                    </a:lnTo>
                    <a:lnTo>
                      <a:pt x="463" y="3465"/>
                    </a:lnTo>
                    <a:lnTo>
                      <a:pt x="444" y="3478"/>
                    </a:lnTo>
                    <a:lnTo>
                      <a:pt x="423" y="3489"/>
                    </a:lnTo>
                    <a:lnTo>
                      <a:pt x="401" y="3494"/>
                    </a:lnTo>
                    <a:lnTo>
                      <a:pt x="377" y="3496"/>
                    </a:lnTo>
                    <a:lnTo>
                      <a:pt x="354" y="3492"/>
                    </a:lnTo>
                    <a:lnTo>
                      <a:pt x="331" y="3484"/>
                    </a:lnTo>
                    <a:lnTo>
                      <a:pt x="311" y="3471"/>
                    </a:lnTo>
                    <a:lnTo>
                      <a:pt x="294" y="3455"/>
                    </a:lnTo>
                    <a:lnTo>
                      <a:pt x="280" y="3437"/>
                    </a:lnTo>
                    <a:lnTo>
                      <a:pt x="270" y="3415"/>
                    </a:lnTo>
                    <a:lnTo>
                      <a:pt x="264" y="3393"/>
                    </a:lnTo>
                    <a:lnTo>
                      <a:pt x="263" y="3370"/>
                    </a:lnTo>
                    <a:lnTo>
                      <a:pt x="266" y="3346"/>
                    </a:lnTo>
                    <a:lnTo>
                      <a:pt x="273" y="3323"/>
                    </a:lnTo>
                    <a:lnTo>
                      <a:pt x="649" y="2525"/>
                    </a:lnTo>
                    <a:lnTo>
                      <a:pt x="0" y="2525"/>
                    </a:lnTo>
                    <a:lnTo>
                      <a:pt x="0" y="122"/>
                    </a:lnTo>
                    <a:lnTo>
                      <a:pt x="834" y="122"/>
                    </a:lnTo>
                    <a:lnTo>
                      <a:pt x="83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5" name="Freeform 23"/>
              <p:cNvSpPr>
                <a:spLocks/>
              </p:cNvSpPr>
              <p:nvPr/>
            </p:nvSpPr>
            <p:spPr bwMode="auto">
              <a:xfrm>
                <a:off x="-37" y="392"/>
                <a:ext cx="143" cy="143"/>
              </a:xfrm>
              <a:custGeom>
                <a:avLst/>
                <a:gdLst>
                  <a:gd name="T0" fmla="*/ 358 w 717"/>
                  <a:gd name="T1" fmla="*/ 0 h 717"/>
                  <a:gd name="T2" fmla="*/ 407 w 717"/>
                  <a:gd name="T3" fmla="*/ 4 h 717"/>
                  <a:gd name="T4" fmla="*/ 453 w 717"/>
                  <a:gd name="T5" fmla="*/ 13 h 717"/>
                  <a:gd name="T6" fmla="*/ 498 w 717"/>
                  <a:gd name="T7" fmla="*/ 28 h 717"/>
                  <a:gd name="T8" fmla="*/ 539 w 717"/>
                  <a:gd name="T9" fmla="*/ 49 h 717"/>
                  <a:gd name="T10" fmla="*/ 577 w 717"/>
                  <a:gd name="T11" fmla="*/ 75 h 717"/>
                  <a:gd name="T12" fmla="*/ 611 w 717"/>
                  <a:gd name="T13" fmla="*/ 105 h 717"/>
                  <a:gd name="T14" fmla="*/ 642 w 717"/>
                  <a:gd name="T15" fmla="*/ 139 h 717"/>
                  <a:gd name="T16" fmla="*/ 667 w 717"/>
                  <a:gd name="T17" fmla="*/ 177 h 717"/>
                  <a:gd name="T18" fmla="*/ 688 w 717"/>
                  <a:gd name="T19" fmla="*/ 219 h 717"/>
                  <a:gd name="T20" fmla="*/ 703 w 717"/>
                  <a:gd name="T21" fmla="*/ 263 h 717"/>
                  <a:gd name="T22" fmla="*/ 713 w 717"/>
                  <a:gd name="T23" fmla="*/ 311 h 717"/>
                  <a:gd name="T24" fmla="*/ 717 w 717"/>
                  <a:gd name="T25" fmla="*/ 359 h 717"/>
                  <a:gd name="T26" fmla="*/ 713 w 717"/>
                  <a:gd name="T27" fmla="*/ 407 h 717"/>
                  <a:gd name="T28" fmla="*/ 703 w 717"/>
                  <a:gd name="T29" fmla="*/ 454 h 717"/>
                  <a:gd name="T30" fmla="*/ 688 w 717"/>
                  <a:gd name="T31" fmla="*/ 499 h 717"/>
                  <a:gd name="T32" fmla="*/ 667 w 717"/>
                  <a:gd name="T33" fmla="*/ 540 h 717"/>
                  <a:gd name="T34" fmla="*/ 642 w 717"/>
                  <a:gd name="T35" fmla="*/ 578 h 717"/>
                  <a:gd name="T36" fmla="*/ 611 w 717"/>
                  <a:gd name="T37" fmla="*/ 613 h 717"/>
                  <a:gd name="T38" fmla="*/ 577 w 717"/>
                  <a:gd name="T39" fmla="*/ 642 h 717"/>
                  <a:gd name="T40" fmla="*/ 539 w 717"/>
                  <a:gd name="T41" fmla="*/ 669 h 717"/>
                  <a:gd name="T42" fmla="*/ 498 w 717"/>
                  <a:gd name="T43" fmla="*/ 690 h 717"/>
                  <a:gd name="T44" fmla="*/ 453 w 717"/>
                  <a:gd name="T45" fmla="*/ 704 h 717"/>
                  <a:gd name="T46" fmla="*/ 407 w 717"/>
                  <a:gd name="T47" fmla="*/ 715 h 717"/>
                  <a:gd name="T48" fmla="*/ 358 w 717"/>
                  <a:gd name="T49" fmla="*/ 717 h 717"/>
                  <a:gd name="T50" fmla="*/ 310 w 717"/>
                  <a:gd name="T51" fmla="*/ 715 h 717"/>
                  <a:gd name="T52" fmla="*/ 263 w 717"/>
                  <a:gd name="T53" fmla="*/ 704 h 717"/>
                  <a:gd name="T54" fmla="*/ 219 w 717"/>
                  <a:gd name="T55" fmla="*/ 690 h 717"/>
                  <a:gd name="T56" fmla="*/ 178 w 717"/>
                  <a:gd name="T57" fmla="*/ 669 h 717"/>
                  <a:gd name="T58" fmla="*/ 139 w 717"/>
                  <a:gd name="T59" fmla="*/ 642 h 717"/>
                  <a:gd name="T60" fmla="*/ 104 w 717"/>
                  <a:gd name="T61" fmla="*/ 613 h 717"/>
                  <a:gd name="T62" fmla="*/ 74 w 717"/>
                  <a:gd name="T63" fmla="*/ 578 h 717"/>
                  <a:gd name="T64" fmla="*/ 49 w 717"/>
                  <a:gd name="T65" fmla="*/ 540 h 717"/>
                  <a:gd name="T66" fmla="*/ 27 w 717"/>
                  <a:gd name="T67" fmla="*/ 499 h 717"/>
                  <a:gd name="T68" fmla="*/ 13 w 717"/>
                  <a:gd name="T69" fmla="*/ 454 h 717"/>
                  <a:gd name="T70" fmla="*/ 3 w 717"/>
                  <a:gd name="T71" fmla="*/ 407 h 717"/>
                  <a:gd name="T72" fmla="*/ 0 w 717"/>
                  <a:gd name="T73" fmla="*/ 359 h 717"/>
                  <a:gd name="T74" fmla="*/ 3 w 717"/>
                  <a:gd name="T75" fmla="*/ 311 h 717"/>
                  <a:gd name="T76" fmla="*/ 13 w 717"/>
                  <a:gd name="T77" fmla="*/ 263 h 717"/>
                  <a:gd name="T78" fmla="*/ 27 w 717"/>
                  <a:gd name="T79" fmla="*/ 219 h 717"/>
                  <a:gd name="T80" fmla="*/ 49 w 717"/>
                  <a:gd name="T81" fmla="*/ 177 h 717"/>
                  <a:gd name="T82" fmla="*/ 74 w 717"/>
                  <a:gd name="T83" fmla="*/ 139 h 717"/>
                  <a:gd name="T84" fmla="*/ 104 w 717"/>
                  <a:gd name="T85" fmla="*/ 105 h 717"/>
                  <a:gd name="T86" fmla="*/ 139 w 717"/>
                  <a:gd name="T87" fmla="*/ 75 h 717"/>
                  <a:gd name="T88" fmla="*/ 178 w 717"/>
                  <a:gd name="T89" fmla="*/ 49 h 717"/>
                  <a:gd name="T90" fmla="*/ 219 w 717"/>
                  <a:gd name="T91" fmla="*/ 28 h 717"/>
                  <a:gd name="T92" fmla="*/ 263 w 717"/>
                  <a:gd name="T93" fmla="*/ 13 h 717"/>
                  <a:gd name="T94" fmla="*/ 310 w 717"/>
                  <a:gd name="T95" fmla="*/ 4 h 717"/>
                  <a:gd name="T96" fmla="*/ 358 w 717"/>
                  <a:gd name="T97" fmla="*/ 0 h 7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17" h="717">
                    <a:moveTo>
                      <a:pt x="358" y="0"/>
                    </a:moveTo>
                    <a:lnTo>
                      <a:pt x="407" y="4"/>
                    </a:lnTo>
                    <a:lnTo>
                      <a:pt x="453" y="13"/>
                    </a:lnTo>
                    <a:lnTo>
                      <a:pt x="498" y="28"/>
                    </a:lnTo>
                    <a:lnTo>
                      <a:pt x="539" y="49"/>
                    </a:lnTo>
                    <a:lnTo>
                      <a:pt x="577" y="75"/>
                    </a:lnTo>
                    <a:lnTo>
                      <a:pt x="611" y="105"/>
                    </a:lnTo>
                    <a:lnTo>
                      <a:pt x="642" y="139"/>
                    </a:lnTo>
                    <a:lnTo>
                      <a:pt x="667" y="177"/>
                    </a:lnTo>
                    <a:lnTo>
                      <a:pt x="688" y="219"/>
                    </a:lnTo>
                    <a:lnTo>
                      <a:pt x="703" y="263"/>
                    </a:lnTo>
                    <a:lnTo>
                      <a:pt x="713" y="311"/>
                    </a:lnTo>
                    <a:lnTo>
                      <a:pt x="717" y="359"/>
                    </a:lnTo>
                    <a:lnTo>
                      <a:pt x="713" y="407"/>
                    </a:lnTo>
                    <a:lnTo>
                      <a:pt x="703" y="454"/>
                    </a:lnTo>
                    <a:lnTo>
                      <a:pt x="688" y="499"/>
                    </a:lnTo>
                    <a:lnTo>
                      <a:pt x="667" y="540"/>
                    </a:lnTo>
                    <a:lnTo>
                      <a:pt x="642" y="578"/>
                    </a:lnTo>
                    <a:lnTo>
                      <a:pt x="611" y="613"/>
                    </a:lnTo>
                    <a:lnTo>
                      <a:pt x="577" y="642"/>
                    </a:lnTo>
                    <a:lnTo>
                      <a:pt x="539" y="669"/>
                    </a:lnTo>
                    <a:lnTo>
                      <a:pt x="498" y="690"/>
                    </a:lnTo>
                    <a:lnTo>
                      <a:pt x="453" y="704"/>
                    </a:lnTo>
                    <a:lnTo>
                      <a:pt x="407" y="715"/>
                    </a:lnTo>
                    <a:lnTo>
                      <a:pt x="358" y="717"/>
                    </a:lnTo>
                    <a:lnTo>
                      <a:pt x="310" y="715"/>
                    </a:lnTo>
                    <a:lnTo>
                      <a:pt x="263" y="704"/>
                    </a:lnTo>
                    <a:lnTo>
                      <a:pt x="219" y="690"/>
                    </a:lnTo>
                    <a:lnTo>
                      <a:pt x="178" y="669"/>
                    </a:lnTo>
                    <a:lnTo>
                      <a:pt x="139" y="642"/>
                    </a:lnTo>
                    <a:lnTo>
                      <a:pt x="104" y="613"/>
                    </a:lnTo>
                    <a:lnTo>
                      <a:pt x="74" y="578"/>
                    </a:lnTo>
                    <a:lnTo>
                      <a:pt x="49" y="540"/>
                    </a:lnTo>
                    <a:lnTo>
                      <a:pt x="27" y="499"/>
                    </a:lnTo>
                    <a:lnTo>
                      <a:pt x="13" y="454"/>
                    </a:lnTo>
                    <a:lnTo>
                      <a:pt x="3" y="407"/>
                    </a:lnTo>
                    <a:lnTo>
                      <a:pt x="0" y="359"/>
                    </a:lnTo>
                    <a:lnTo>
                      <a:pt x="3" y="311"/>
                    </a:lnTo>
                    <a:lnTo>
                      <a:pt x="13" y="263"/>
                    </a:lnTo>
                    <a:lnTo>
                      <a:pt x="27" y="219"/>
                    </a:lnTo>
                    <a:lnTo>
                      <a:pt x="49" y="177"/>
                    </a:lnTo>
                    <a:lnTo>
                      <a:pt x="74" y="139"/>
                    </a:lnTo>
                    <a:lnTo>
                      <a:pt x="104" y="105"/>
                    </a:lnTo>
                    <a:lnTo>
                      <a:pt x="139" y="75"/>
                    </a:lnTo>
                    <a:lnTo>
                      <a:pt x="178" y="49"/>
                    </a:lnTo>
                    <a:lnTo>
                      <a:pt x="219" y="28"/>
                    </a:lnTo>
                    <a:lnTo>
                      <a:pt x="263" y="13"/>
                    </a:lnTo>
                    <a:lnTo>
                      <a:pt x="310" y="4"/>
                    </a:lnTo>
                    <a:lnTo>
                      <a:pt x="35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6" name="Freeform 24"/>
              <p:cNvSpPr>
                <a:spLocks/>
              </p:cNvSpPr>
              <p:nvPr/>
            </p:nvSpPr>
            <p:spPr bwMode="auto">
              <a:xfrm>
                <a:off x="-201" y="563"/>
                <a:ext cx="377" cy="523"/>
              </a:xfrm>
              <a:custGeom>
                <a:avLst/>
                <a:gdLst>
                  <a:gd name="T0" fmla="*/ 1525 w 1885"/>
                  <a:gd name="T1" fmla="*/ 37 h 2616"/>
                  <a:gd name="T2" fmla="*/ 1601 w 1885"/>
                  <a:gd name="T3" fmla="*/ 111 h 2616"/>
                  <a:gd name="T4" fmla="*/ 1676 w 1885"/>
                  <a:gd name="T5" fmla="*/ 212 h 2616"/>
                  <a:gd name="T6" fmla="*/ 1746 w 1885"/>
                  <a:gd name="T7" fmla="*/ 346 h 2616"/>
                  <a:gd name="T8" fmla="*/ 1806 w 1885"/>
                  <a:gd name="T9" fmla="*/ 513 h 2616"/>
                  <a:gd name="T10" fmla="*/ 1853 w 1885"/>
                  <a:gd name="T11" fmla="*/ 720 h 2616"/>
                  <a:gd name="T12" fmla="*/ 1881 w 1885"/>
                  <a:gd name="T13" fmla="*/ 969 h 2616"/>
                  <a:gd name="T14" fmla="*/ 1882 w 1885"/>
                  <a:gd name="T15" fmla="*/ 1191 h 2616"/>
                  <a:gd name="T16" fmla="*/ 1843 w 1885"/>
                  <a:gd name="T17" fmla="*/ 1267 h 2616"/>
                  <a:gd name="T18" fmla="*/ 1770 w 1885"/>
                  <a:gd name="T19" fmla="*/ 1309 h 2616"/>
                  <a:gd name="T20" fmla="*/ 1710 w 1885"/>
                  <a:gd name="T21" fmla="*/ 1309 h 2616"/>
                  <a:gd name="T22" fmla="*/ 1632 w 1885"/>
                  <a:gd name="T23" fmla="*/ 1267 h 2616"/>
                  <a:gd name="T24" fmla="*/ 1588 w 1885"/>
                  <a:gd name="T25" fmla="*/ 1191 h 2616"/>
                  <a:gd name="T26" fmla="*/ 1584 w 1885"/>
                  <a:gd name="T27" fmla="*/ 1023 h 2616"/>
                  <a:gd name="T28" fmla="*/ 1572 w 1885"/>
                  <a:gd name="T29" fmla="*/ 841 h 2616"/>
                  <a:gd name="T30" fmla="*/ 1539 w 1885"/>
                  <a:gd name="T31" fmla="*/ 687 h 2616"/>
                  <a:gd name="T32" fmla="*/ 1521 w 1885"/>
                  <a:gd name="T33" fmla="*/ 1145 h 2616"/>
                  <a:gd name="T34" fmla="*/ 1512 w 1885"/>
                  <a:gd name="T35" fmla="*/ 1239 h 2616"/>
                  <a:gd name="T36" fmla="*/ 1490 w 1885"/>
                  <a:gd name="T37" fmla="*/ 2474 h 2616"/>
                  <a:gd name="T38" fmla="*/ 1465 w 1885"/>
                  <a:gd name="T39" fmla="*/ 2554 h 2616"/>
                  <a:gd name="T40" fmla="*/ 1399 w 1885"/>
                  <a:gd name="T41" fmla="*/ 2606 h 2616"/>
                  <a:gd name="T42" fmla="*/ 1315 w 1885"/>
                  <a:gd name="T43" fmla="*/ 2614 h 2616"/>
                  <a:gd name="T44" fmla="*/ 1247 w 1885"/>
                  <a:gd name="T45" fmla="*/ 2586 h 2616"/>
                  <a:gd name="T46" fmla="*/ 1203 w 1885"/>
                  <a:gd name="T47" fmla="*/ 2525 h 2616"/>
                  <a:gd name="T48" fmla="*/ 1155 w 1885"/>
                  <a:gd name="T49" fmla="*/ 2468 h 2616"/>
                  <a:gd name="T50" fmla="*/ 1133 w 1885"/>
                  <a:gd name="T51" fmla="*/ 2550 h 2616"/>
                  <a:gd name="T52" fmla="*/ 1076 w 1885"/>
                  <a:gd name="T53" fmla="*/ 2599 h 2616"/>
                  <a:gd name="T54" fmla="*/ 1000 w 1885"/>
                  <a:gd name="T55" fmla="*/ 2616 h 2616"/>
                  <a:gd name="T56" fmla="*/ 915 w 1885"/>
                  <a:gd name="T57" fmla="*/ 2592 h 2616"/>
                  <a:gd name="T58" fmla="*/ 858 w 1885"/>
                  <a:gd name="T59" fmla="*/ 2530 h 2616"/>
                  <a:gd name="T60" fmla="*/ 844 w 1885"/>
                  <a:gd name="T61" fmla="*/ 1297 h 2616"/>
                  <a:gd name="T62" fmla="*/ 818 w 1885"/>
                  <a:gd name="T63" fmla="*/ 1209 h 2616"/>
                  <a:gd name="T64" fmla="*/ 813 w 1885"/>
                  <a:gd name="T65" fmla="*/ 1112 h 2616"/>
                  <a:gd name="T66" fmla="*/ 634 w 1885"/>
                  <a:gd name="T67" fmla="*/ 788 h 2616"/>
                  <a:gd name="T68" fmla="*/ 553 w 1885"/>
                  <a:gd name="T69" fmla="*/ 820 h 2616"/>
                  <a:gd name="T70" fmla="*/ 516 w 1885"/>
                  <a:gd name="T71" fmla="*/ 819 h 2616"/>
                  <a:gd name="T72" fmla="*/ 446 w 1885"/>
                  <a:gd name="T73" fmla="*/ 784 h 2616"/>
                  <a:gd name="T74" fmla="*/ 14 w 1885"/>
                  <a:gd name="T75" fmla="*/ 383 h 2616"/>
                  <a:gd name="T76" fmla="*/ 1 w 1885"/>
                  <a:gd name="T77" fmla="*/ 302 h 2616"/>
                  <a:gd name="T78" fmla="*/ 37 w 1885"/>
                  <a:gd name="T79" fmla="*/ 225 h 2616"/>
                  <a:gd name="T80" fmla="*/ 109 w 1885"/>
                  <a:gd name="T81" fmla="*/ 180 h 2616"/>
                  <a:gd name="T82" fmla="*/ 191 w 1885"/>
                  <a:gd name="T83" fmla="*/ 184 h 2616"/>
                  <a:gd name="T84" fmla="*/ 526 w 1885"/>
                  <a:gd name="T85" fmla="*/ 466 h 2616"/>
                  <a:gd name="T86" fmla="*/ 1478 w 1885"/>
                  <a:gd name="T87" fmla="*/ 0 h 26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885" h="2616">
                    <a:moveTo>
                      <a:pt x="1478" y="0"/>
                    </a:moveTo>
                    <a:lnTo>
                      <a:pt x="1501" y="17"/>
                    </a:lnTo>
                    <a:lnTo>
                      <a:pt x="1525" y="37"/>
                    </a:lnTo>
                    <a:lnTo>
                      <a:pt x="1551" y="58"/>
                    </a:lnTo>
                    <a:lnTo>
                      <a:pt x="1576" y="84"/>
                    </a:lnTo>
                    <a:lnTo>
                      <a:pt x="1601" y="111"/>
                    </a:lnTo>
                    <a:lnTo>
                      <a:pt x="1625" y="141"/>
                    </a:lnTo>
                    <a:lnTo>
                      <a:pt x="1650" y="176"/>
                    </a:lnTo>
                    <a:lnTo>
                      <a:pt x="1676" y="212"/>
                    </a:lnTo>
                    <a:lnTo>
                      <a:pt x="1700" y="253"/>
                    </a:lnTo>
                    <a:lnTo>
                      <a:pt x="1723" y="297"/>
                    </a:lnTo>
                    <a:lnTo>
                      <a:pt x="1746" y="346"/>
                    </a:lnTo>
                    <a:lnTo>
                      <a:pt x="1767" y="397"/>
                    </a:lnTo>
                    <a:lnTo>
                      <a:pt x="1788" y="452"/>
                    </a:lnTo>
                    <a:lnTo>
                      <a:pt x="1806" y="513"/>
                    </a:lnTo>
                    <a:lnTo>
                      <a:pt x="1824" y="578"/>
                    </a:lnTo>
                    <a:lnTo>
                      <a:pt x="1840" y="646"/>
                    </a:lnTo>
                    <a:lnTo>
                      <a:pt x="1853" y="720"/>
                    </a:lnTo>
                    <a:lnTo>
                      <a:pt x="1865" y="798"/>
                    </a:lnTo>
                    <a:lnTo>
                      <a:pt x="1874" y="881"/>
                    </a:lnTo>
                    <a:lnTo>
                      <a:pt x="1881" y="969"/>
                    </a:lnTo>
                    <a:lnTo>
                      <a:pt x="1884" y="1063"/>
                    </a:lnTo>
                    <a:lnTo>
                      <a:pt x="1885" y="1162"/>
                    </a:lnTo>
                    <a:lnTo>
                      <a:pt x="1882" y="1191"/>
                    </a:lnTo>
                    <a:lnTo>
                      <a:pt x="1874" y="1220"/>
                    </a:lnTo>
                    <a:lnTo>
                      <a:pt x="1860" y="1245"/>
                    </a:lnTo>
                    <a:lnTo>
                      <a:pt x="1843" y="1267"/>
                    </a:lnTo>
                    <a:lnTo>
                      <a:pt x="1821" y="1286"/>
                    </a:lnTo>
                    <a:lnTo>
                      <a:pt x="1797" y="1300"/>
                    </a:lnTo>
                    <a:lnTo>
                      <a:pt x="1770" y="1309"/>
                    </a:lnTo>
                    <a:lnTo>
                      <a:pt x="1741" y="1313"/>
                    </a:lnTo>
                    <a:lnTo>
                      <a:pt x="1740" y="1313"/>
                    </a:lnTo>
                    <a:lnTo>
                      <a:pt x="1710" y="1309"/>
                    </a:lnTo>
                    <a:lnTo>
                      <a:pt x="1682" y="1300"/>
                    </a:lnTo>
                    <a:lnTo>
                      <a:pt x="1656" y="1285"/>
                    </a:lnTo>
                    <a:lnTo>
                      <a:pt x="1632" y="1267"/>
                    </a:lnTo>
                    <a:lnTo>
                      <a:pt x="1612" y="1245"/>
                    </a:lnTo>
                    <a:lnTo>
                      <a:pt x="1598" y="1218"/>
                    </a:lnTo>
                    <a:lnTo>
                      <a:pt x="1588" y="1191"/>
                    </a:lnTo>
                    <a:lnTo>
                      <a:pt x="1585" y="1161"/>
                    </a:lnTo>
                    <a:lnTo>
                      <a:pt x="1585" y="1091"/>
                    </a:lnTo>
                    <a:lnTo>
                      <a:pt x="1584" y="1023"/>
                    </a:lnTo>
                    <a:lnTo>
                      <a:pt x="1582" y="959"/>
                    </a:lnTo>
                    <a:lnTo>
                      <a:pt x="1578" y="898"/>
                    </a:lnTo>
                    <a:lnTo>
                      <a:pt x="1572" y="841"/>
                    </a:lnTo>
                    <a:lnTo>
                      <a:pt x="1564" y="785"/>
                    </a:lnTo>
                    <a:lnTo>
                      <a:pt x="1553" y="735"/>
                    </a:lnTo>
                    <a:lnTo>
                      <a:pt x="1539" y="687"/>
                    </a:lnTo>
                    <a:lnTo>
                      <a:pt x="1521" y="642"/>
                    </a:lnTo>
                    <a:lnTo>
                      <a:pt x="1521" y="1112"/>
                    </a:lnTo>
                    <a:lnTo>
                      <a:pt x="1521" y="1145"/>
                    </a:lnTo>
                    <a:lnTo>
                      <a:pt x="1520" y="1177"/>
                    </a:lnTo>
                    <a:lnTo>
                      <a:pt x="1516" y="1208"/>
                    </a:lnTo>
                    <a:lnTo>
                      <a:pt x="1512" y="1239"/>
                    </a:lnTo>
                    <a:lnTo>
                      <a:pt x="1502" y="1268"/>
                    </a:lnTo>
                    <a:lnTo>
                      <a:pt x="1490" y="1297"/>
                    </a:lnTo>
                    <a:lnTo>
                      <a:pt x="1490" y="2474"/>
                    </a:lnTo>
                    <a:lnTo>
                      <a:pt x="1486" y="2504"/>
                    </a:lnTo>
                    <a:lnTo>
                      <a:pt x="1478" y="2530"/>
                    </a:lnTo>
                    <a:lnTo>
                      <a:pt x="1465" y="2554"/>
                    </a:lnTo>
                    <a:lnTo>
                      <a:pt x="1446" y="2575"/>
                    </a:lnTo>
                    <a:lnTo>
                      <a:pt x="1423" y="2592"/>
                    </a:lnTo>
                    <a:lnTo>
                      <a:pt x="1399" y="2606"/>
                    </a:lnTo>
                    <a:lnTo>
                      <a:pt x="1372" y="2614"/>
                    </a:lnTo>
                    <a:lnTo>
                      <a:pt x="1342" y="2616"/>
                    </a:lnTo>
                    <a:lnTo>
                      <a:pt x="1315" y="2614"/>
                    </a:lnTo>
                    <a:lnTo>
                      <a:pt x="1291" y="2609"/>
                    </a:lnTo>
                    <a:lnTo>
                      <a:pt x="1267" y="2599"/>
                    </a:lnTo>
                    <a:lnTo>
                      <a:pt x="1247" y="2586"/>
                    </a:lnTo>
                    <a:lnTo>
                      <a:pt x="1229" y="2570"/>
                    </a:lnTo>
                    <a:lnTo>
                      <a:pt x="1214" y="2550"/>
                    </a:lnTo>
                    <a:lnTo>
                      <a:pt x="1203" y="2525"/>
                    </a:lnTo>
                    <a:lnTo>
                      <a:pt x="1196" y="2499"/>
                    </a:lnTo>
                    <a:lnTo>
                      <a:pt x="1194" y="2468"/>
                    </a:lnTo>
                    <a:lnTo>
                      <a:pt x="1155" y="2468"/>
                    </a:lnTo>
                    <a:lnTo>
                      <a:pt x="1153" y="2499"/>
                    </a:lnTo>
                    <a:lnTo>
                      <a:pt x="1145" y="2525"/>
                    </a:lnTo>
                    <a:lnTo>
                      <a:pt x="1133" y="2550"/>
                    </a:lnTo>
                    <a:lnTo>
                      <a:pt x="1117" y="2570"/>
                    </a:lnTo>
                    <a:lnTo>
                      <a:pt x="1097" y="2586"/>
                    </a:lnTo>
                    <a:lnTo>
                      <a:pt x="1076" y="2599"/>
                    </a:lnTo>
                    <a:lnTo>
                      <a:pt x="1052" y="2609"/>
                    </a:lnTo>
                    <a:lnTo>
                      <a:pt x="1026" y="2614"/>
                    </a:lnTo>
                    <a:lnTo>
                      <a:pt x="1000" y="2616"/>
                    </a:lnTo>
                    <a:lnTo>
                      <a:pt x="970" y="2614"/>
                    </a:lnTo>
                    <a:lnTo>
                      <a:pt x="941" y="2606"/>
                    </a:lnTo>
                    <a:lnTo>
                      <a:pt x="915" y="2592"/>
                    </a:lnTo>
                    <a:lnTo>
                      <a:pt x="892" y="2575"/>
                    </a:lnTo>
                    <a:lnTo>
                      <a:pt x="873" y="2554"/>
                    </a:lnTo>
                    <a:lnTo>
                      <a:pt x="858" y="2530"/>
                    </a:lnTo>
                    <a:lnTo>
                      <a:pt x="847" y="2502"/>
                    </a:lnTo>
                    <a:lnTo>
                      <a:pt x="844" y="2474"/>
                    </a:lnTo>
                    <a:lnTo>
                      <a:pt x="844" y="1297"/>
                    </a:lnTo>
                    <a:lnTo>
                      <a:pt x="831" y="1269"/>
                    </a:lnTo>
                    <a:lnTo>
                      <a:pt x="822" y="1239"/>
                    </a:lnTo>
                    <a:lnTo>
                      <a:pt x="818" y="1209"/>
                    </a:lnTo>
                    <a:lnTo>
                      <a:pt x="814" y="1177"/>
                    </a:lnTo>
                    <a:lnTo>
                      <a:pt x="814" y="1145"/>
                    </a:lnTo>
                    <a:lnTo>
                      <a:pt x="813" y="1112"/>
                    </a:lnTo>
                    <a:lnTo>
                      <a:pt x="813" y="571"/>
                    </a:lnTo>
                    <a:lnTo>
                      <a:pt x="656" y="767"/>
                    </a:lnTo>
                    <a:lnTo>
                      <a:pt x="634" y="788"/>
                    </a:lnTo>
                    <a:lnTo>
                      <a:pt x="609" y="804"/>
                    </a:lnTo>
                    <a:lnTo>
                      <a:pt x="582" y="815"/>
                    </a:lnTo>
                    <a:lnTo>
                      <a:pt x="553" y="820"/>
                    </a:lnTo>
                    <a:lnTo>
                      <a:pt x="548" y="821"/>
                    </a:lnTo>
                    <a:lnTo>
                      <a:pt x="542" y="821"/>
                    </a:lnTo>
                    <a:lnTo>
                      <a:pt x="516" y="819"/>
                    </a:lnTo>
                    <a:lnTo>
                      <a:pt x="491" y="811"/>
                    </a:lnTo>
                    <a:lnTo>
                      <a:pt x="468" y="799"/>
                    </a:lnTo>
                    <a:lnTo>
                      <a:pt x="446" y="784"/>
                    </a:lnTo>
                    <a:lnTo>
                      <a:pt x="49" y="429"/>
                    </a:lnTo>
                    <a:lnTo>
                      <a:pt x="29" y="408"/>
                    </a:lnTo>
                    <a:lnTo>
                      <a:pt x="14" y="383"/>
                    </a:lnTo>
                    <a:lnTo>
                      <a:pt x="4" y="357"/>
                    </a:lnTo>
                    <a:lnTo>
                      <a:pt x="0" y="330"/>
                    </a:lnTo>
                    <a:lnTo>
                      <a:pt x="1" y="302"/>
                    </a:lnTo>
                    <a:lnTo>
                      <a:pt x="8" y="274"/>
                    </a:lnTo>
                    <a:lnTo>
                      <a:pt x="19" y="248"/>
                    </a:lnTo>
                    <a:lnTo>
                      <a:pt x="37" y="225"/>
                    </a:lnTo>
                    <a:lnTo>
                      <a:pt x="58" y="204"/>
                    </a:lnTo>
                    <a:lnTo>
                      <a:pt x="82" y="191"/>
                    </a:lnTo>
                    <a:lnTo>
                      <a:pt x="109" y="180"/>
                    </a:lnTo>
                    <a:lnTo>
                      <a:pt x="136" y="176"/>
                    </a:lnTo>
                    <a:lnTo>
                      <a:pt x="165" y="177"/>
                    </a:lnTo>
                    <a:lnTo>
                      <a:pt x="191" y="184"/>
                    </a:lnTo>
                    <a:lnTo>
                      <a:pt x="218" y="195"/>
                    </a:lnTo>
                    <a:lnTo>
                      <a:pt x="242" y="212"/>
                    </a:lnTo>
                    <a:lnTo>
                      <a:pt x="526" y="466"/>
                    </a:lnTo>
                    <a:lnTo>
                      <a:pt x="882" y="29"/>
                    </a:lnTo>
                    <a:lnTo>
                      <a:pt x="1178" y="416"/>
                    </a:lnTo>
                    <a:lnTo>
                      <a:pt x="147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27" name="Freeform 25"/>
              <p:cNvSpPr>
                <a:spLocks/>
              </p:cNvSpPr>
              <p:nvPr/>
            </p:nvSpPr>
            <p:spPr bwMode="auto">
              <a:xfrm>
                <a:off x="-13" y="540"/>
                <a:ext cx="91" cy="40"/>
              </a:xfrm>
              <a:custGeom>
                <a:avLst/>
                <a:gdLst>
                  <a:gd name="T0" fmla="*/ 232 w 452"/>
                  <a:gd name="T1" fmla="*/ 0 h 201"/>
                  <a:gd name="T2" fmla="*/ 254 w 452"/>
                  <a:gd name="T3" fmla="*/ 3 h 201"/>
                  <a:gd name="T4" fmla="*/ 275 w 452"/>
                  <a:gd name="T5" fmla="*/ 8 h 201"/>
                  <a:gd name="T6" fmla="*/ 292 w 452"/>
                  <a:gd name="T7" fmla="*/ 20 h 201"/>
                  <a:gd name="T8" fmla="*/ 307 w 452"/>
                  <a:gd name="T9" fmla="*/ 33 h 201"/>
                  <a:gd name="T10" fmla="*/ 319 w 452"/>
                  <a:gd name="T11" fmla="*/ 50 h 201"/>
                  <a:gd name="T12" fmla="*/ 405 w 452"/>
                  <a:gd name="T13" fmla="*/ 13 h 201"/>
                  <a:gd name="T14" fmla="*/ 417 w 452"/>
                  <a:gd name="T15" fmla="*/ 10 h 201"/>
                  <a:gd name="T16" fmla="*/ 427 w 452"/>
                  <a:gd name="T17" fmla="*/ 11 h 201"/>
                  <a:gd name="T18" fmla="*/ 439 w 452"/>
                  <a:gd name="T19" fmla="*/ 16 h 201"/>
                  <a:gd name="T20" fmla="*/ 447 w 452"/>
                  <a:gd name="T21" fmla="*/ 26 h 201"/>
                  <a:gd name="T22" fmla="*/ 451 w 452"/>
                  <a:gd name="T23" fmla="*/ 37 h 201"/>
                  <a:gd name="T24" fmla="*/ 452 w 452"/>
                  <a:gd name="T25" fmla="*/ 50 h 201"/>
                  <a:gd name="T26" fmla="*/ 452 w 452"/>
                  <a:gd name="T27" fmla="*/ 157 h 201"/>
                  <a:gd name="T28" fmla="*/ 451 w 452"/>
                  <a:gd name="T29" fmla="*/ 168 h 201"/>
                  <a:gd name="T30" fmla="*/ 448 w 452"/>
                  <a:gd name="T31" fmla="*/ 180 h 201"/>
                  <a:gd name="T32" fmla="*/ 440 w 452"/>
                  <a:gd name="T33" fmla="*/ 189 h 201"/>
                  <a:gd name="T34" fmla="*/ 431 w 452"/>
                  <a:gd name="T35" fmla="*/ 194 h 201"/>
                  <a:gd name="T36" fmla="*/ 420 w 452"/>
                  <a:gd name="T37" fmla="*/ 197 h 201"/>
                  <a:gd name="T38" fmla="*/ 409 w 452"/>
                  <a:gd name="T39" fmla="*/ 194 h 201"/>
                  <a:gd name="T40" fmla="*/ 382 w 452"/>
                  <a:gd name="T41" fmla="*/ 186 h 201"/>
                  <a:gd name="T42" fmla="*/ 356 w 452"/>
                  <a:gd name="T43" fmla="*/ 178 h 201"/>
                  <a:gd name="T44" fmla="*/ 331 w 452"/>
                  <a:gd name="T45" fmla="*/ 170 h 201"/>
                  <a:gd name="T46" fmla="*/ 310 w 452"/>
                  <a:gd name="T47" fmla="*/ 165 h 201"/>
                  <a:gd name="T48" fmla="*/ 294 w 452"/>
                  <a:gd name="T49" fmla="*/ 180 h 201"/>
                  <a:gd name="T50" fmla="*/ 276 w 452"/>
                  <a:gd name="T51" fmla="*/ 191 h 201"/>
                  <a:gd name="T52" fmla="*/ 255 w 452"/>
                  <a:gd name="T53" fmla="*/ 198 h 201"/>
                  <a:gd name="T54" fmla="*/ 232 w 452"/>
                  <a:gd name="T55" fmla="*/ 201 h 201"/>
                  <a:gd name="T56" fmla="*/ 210 w 452"/>
                  <a:gd name="T57" fmla="*/ 199 h 201"/>
                  <a:gd name="T58" fmla="*/ 191 w 452"/>
                  <a:gd name="T59" fmla="*/ 191 h 201"/>
                  <a:gd name="T60" fmla="*/ 173 w 452"/>
                  <a:gd name="T61" fmla="*/ 181 h 201"/>
                  <a:gd name="T62" fmla="*/ 156 w 452"/>
                  <a:gd name="T63" fmla="*/ 167 h 201"/>
                  <a:gd name="T64" fmla="*/ 140 w 452"/>
                  <a:gd name="T65" fmla="*/ 171 h 201"/>
                  <a:gd name="T66" fmla="*/ 121 w 452"/>
                  <a:gd name="T67" fmla="*/ 177 h 201"/>
                  <a:gd name="T68" fmla="*/ 99 w 452"/>
                  <a:gd name="T69" fmla="*/ 183 h 201"/>
                  <a:gd name="T70" fmla="*/ 77 w 452"/>
                  <a:gd name="T71" fmla="*/ 190 h 201"/>
                  <a:gd name="T72" fmla="*/ 57 w 452"/>
                  <a:gd name="T73" fmla="*/ 197 h 201"/>
                  <a:gd name="T74" fmla="*/ 43 w 452"/>
                  <a:gd name="T75" fmla="*/ 198 h 201"/>
                  <a:gd name="T76" fmla="*/ 30 w 452"/>
                  <a:gd name="T77" fmla="*/ 197 h 201"/>
                  <a:gd name="T78" fmla="*/ 19 w 452"/>
                  <a:gd name="T79" fmla="*/ 190 h 201"/>
                  <a:gd name="T80" fmla="*/ 10 w 452"/>
                  <a:gd name="T81" fmla="*/ 182 h 201"/>
                  <a:gd name="T82" fmla="*/ 3 w 452"/>
                  <a:gd name="T83" fmla="*/ 170 h 201"/>
                  <a:gd name="T84" fmla="*/ 0 w 452"/>
                  <a:gd name="T85" fmla="*/ 158 h 201"/>
                  <a:gd name="T86" fmla="*/ 0 w 452"/>
                  <a:gd name="T87" fmla="*/ 51 h 201"/>
                  <a:gd name="T88" fmla="*/ 3 w 452"/>
                  <a:gd name="T89" fmla="*/ 38 h 201"/>
                  <a:gd name="T90" fmla="*/ 11 w 452"/>
                  <a:gd name="T91" fmla="*/ 27 h 201"/>
                  <a:gd name="T92" fmla="*/ 21 w 452"/>
                  <a:gd name="T93" fmla="*/ 18 h 201"/>
                  <a:gd name="T94" fmla="*/ 34 w 452"/>
                  <a:gd name="T95" fmla="*/ 12 h 201"/>
                  <a:gd name="T96" fmla="*/ 48 w 452"/>
                  <a:gd name="T97" fmla="*/ 11 h 201"/>
                  <a:gd name="T98" fmla="*/ 61 w 452"/>
                  <a:gd name="T99" fmla="*/ 14 h 201"/>
                  <a:gd name="T100" fmla="*/ 146 w 452"/>
                  <a:gd name="T101" fmla="*/ 50 h 201"/>
                  <a:gd name="T102" fmla="*/ 159 w 452"/>
                  <a:gd name="T103" fmla="*/ 34 h 201"/>
                  <a:gd name="T104" fmla="*/ 174 w 452"/>
                  <a:gd name="T105" fmla="*/ 20 h 201"/>
                  <a:gd name="T106" fmla="*/ 191 w 452"/>
                  <a:gd name="T107" fmla="*/ 8 h 201"/>
                  <a:gd name="T108" fmla="*/ 212 w 452"/>
                  <a:gd name="T109" fmla="*/ 3 h 201"/>
                  <a:gd name="T110" fmla="*/ 232 w 452"/>
                  <a:gd name="T111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52" h="201">
                    <a:moveTo>
                      <a:pt x="232" y="0"/>
                    </a:moveTo>
                    <a:lnTo>
                      <a:pt x="254" y="3"/>
                    </a:lnTo>
                    <a:lnTo>
                      <a:pt x="275" y="8"/>
                    </a:lnTo>
                    <a:lnTo>
                      <a:pt x="292" y="20"/>
                    </a:lnTo>
                    <a:lnTo>
                      <a:pt x="307" y="33"/>
                    </a:lnTo>
                    <a:lnTo>
                      <a:pt x="319" y="50"/>
                    </a:lnTo>
                    <a:lnTo>
                      <a:pt x="405" y="13"/>
                    </a:lnTo>
                    <a:lnTo>
                      <a:pt x="417" y="10"/>
                    </a:lnTo>
                    <a:lnTo>
                      <a:pt x="427" y="11"/>
                    </a:lnTo>
                    <a:lnTo>
                      <a:pt x="439" y="16"/>
                    </a:lnTo>
                    <a:lnTo>
                      <a:pt x="447" y="26"/>
                    </a:lnTo>
                    <a:lnTo>
                      <a:pt x="451" y="37"/>
                    </a:lnTo>
                    <a:lnTo>
                      <a:pt x="452" y="50"/>
                    </a:lnTo>
                    <a:lnTo>
                      <a:pt x="452" y="157"/>
                    </a:lnTo>
                    <a:lnTo>
                      <a:pt x="451" y="168"/>
                    </a:lnTo>
                    <a:lnTo>
                      <a:pt x="448" y="180"/>
                    </a:lnTo>
                    <a:lnTo>
                      <a:pt x="440" y="189"/>
                    </a:lnTo>
                    <a:lnTo>
                      <a:pt x="431" y="194"/>
                    </a:lnTo>
                    <a:lnTo>
                      <a:pt x="420" y="197"/>
                    </a:lnTo>
                    <a:lnTo>
                      <a:pt x="409" y="194"/>
                    </a:lnTo>
                    <a:lnTo>
                      <a:pt x="382" y="186"/>
                    </a:lnTo>
                    <a:lnTo>
                      <a:pt x="356" y="178"/>
                    </a:lnTo>
                    <a:lnTo>
                      <a:pt x="331" y="170"/>
                    </a:lnTo>
                    <a:lnTo>
                      <a:pt x="310" y="165"/>
                    </a:lnTo>
                    <a:lnTo>
                      <a:pt x="294" y="180"/>
                    </a:lnTo>
                    <a:lnTo>
                      <a:pt x="276" y="191"/>
                    </a:lnTo>
                    <a:lnTo>
                      <a:pt x="255" y="198"/>
                    </a:lnTo>
                    <a:lnTo>
                      <a:pt x="232" y="201"/>
                    </a:lnTo>
                    <a:lnTo>
                      <a:pt x="210" y="199"/>
                    </a:lnTo>
                    <a:lnTo>
                      <a:pt x="191" y="191"/>
                    </a:lnTo>
                    <a:lnTo>
                      <a:pt x="173" y="181"/>
                    </a:lnTo>
                    <a:lnTo>
                      <a:pt x="156" y="167"/>
                    </a:lnTo>
                    <a:lnTo>
                      <a:pt x="140" y="171"/>
                    </a:lnTo>
                    <a:lnTo>
                      <a:pt x="121" y="177"/>
                    </a:lnTo>
                    <a:lnTo>
                      <a:pt x="99" y="183"/>
                    </a:lnTo>
                    <a:lnTo>
                      <a:pt x="77" y="190"/>
                    </a:lnTo>
                    <a:lnTo>
                      <a:pt x="57" y="197"/>
                    </a:lnTo>
                    <a:lnTo>
                      <a:pt x="43" y="198"/>
                    </a:lnTo>
                    <a:lnTo>
                      <a:pt x="30" y="197"/>
                    </a:lnTo>
                    <a:lnTo>
                      <a:pt x="19" y="190"/>
                    </a:lnTo>
                    <a:lnTo>
                      <a:pt x="10" y="182"/>
                    </a:lnTo>
                    <a:lnTo>
                      <a:pt x="3" y="170"/>
                    </a:lnTo>
                    <a:lnTo>
                      <a:pt x="0" y="158"/>
                    </a:lnTo>
                    <a:lnTo>
                      <a:pt x="0" y="51"/>
                    </a:lnTo>
                    <a:lnTo>
                      <a:pt x="3" y="38"/>
                    </a:lnTo>
                    <a:lnTo>
                      <a:pt x="11" y="27"/>
                    </a:lnTo>
                    <a:lnTo>
                      <a:pt x="21" y="18"/>
                    </a:lnTo>
                    <a:lnTo>
                      <a:pt x="34" y="12"/>
                    </a:lnTo>
                    <a:lnTo>
                      <a:pt x="48" y="11"/>
                    </a:lnTo>
                    <a:lnTo>
                      <a:pt x="61" y="14"/>
                    </a:lnTo>
                    <a:lnTo>
                      <a:pt x="146" y="50"/>
                    </a:lnTo>
                    <a:lnTo>
                      <a:pt x="159" y="34"/>
                    </a:lnTo>
                    <a:lnTo>
                      <a:pt x="174" y="20"/>
                    </a:lnTo>
                    <a:lnTo>
                      <a:pt x="191" y="8"/>
                    </a:lnTo>
                    <a:lnTo>
                      <a:pt x="212" y="3"/>
                    </a:lnTo>
                    <a:lnTo>
                      <a:pt x="23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56" name="Group 55"/>
          <p:cNvGrpSpPr/>
          <p:nvPr/>
        </p:nvGrpSpPr>
        <p:grpSpPr>
          <a:xfrm>
            <a:off x="4252365" y="4641256"/>
            <a:ext cx="623058" cy="618693"/>
            <a:chOff x="5556739" y="5087739"/>
            <a:chExt cx="1104405" cy="1128156"/>
          </a:xfrm>
        </p:grpSpPr>
        <p:sp>
          <p:nvSpPr>
            <p:cNvPr id="10" name="Oval 9"/>
            <p:cNvSpPr/>
            <p:nvPr/>
          </p:nvSpPr>
          <p:spPr>
            <a:xfrm>
              <a:off x="5556739" y="5087739"/>
              <a:ext cx="1104405" cy="112815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srgbClr val="E7EBEE"/>
                </a:solidFill>
                <a:latin typeface="Calibri" panose="020F0502020204030204"/>
              </a:endParaRPr>
            </a:p>
          </p:txBody>
        </p:sp>
        <p:grpSp>
          <p:nvGrpSpPr>
            <p:cNvPr id="28" name="Group 46"/>
            <p:cNvGrpSpPr>
              <a:grpSpLocks noChangeAspect="1"/>
            </p:cNvGrpSpPr>
            <p:nvPr/>
          </p:nvGrpSpPr>
          <p:grpSpPr bwMode="auto">
            <a:xfrm>
              <a:off x="5784599" y="5404338"/>
              <a:ext cx="648683" cy="560226"/>
              <a:chOff x="-892" y="1302"/>
              <a:chExt cx="792" cy="684"/>
            </a:xfrm>
            <a:solidFill>
              <a:schemeClr val="accent3"/>
            </a:solidFill>
          </p:grpSpPr>
          <p:sp>
            <p:nvSpPr>
              <p:cNvPr id="29" name="Freeform 48"/>
              <p:cNvSpPr>
                <a:spLocks/>
              </p:cNvSpPr>
              <p:nvPr/>
            </p:nvSpPr>
            <p:spPr bwMode="auto">
              <a:xfrm>
                <a:off x="-366" y="1442"/>
                <a:ext cx="122" cy="144"/>
              </a:xfrm>
              <a:custGeom>
                <a:avLst/>
                <a:gdLst>
                  <a:gd name="T0" fmla="*/ 293 w 611"/>
                  <a:gd name="T1" fmla="*/ 0 h 720"/>
                  <a:gd name="T2" fmla="*/ 342 w 611"/>
                  <a:gd name="T3" fmla="*/ 2 h 720"/>
                  <a:gd name="T4" fmla="*/ 385 w 611"/>
                  <a:gd name="T5" fmla="*/ 8 h 720"/>
                  <a:gd name="T6" fmla="*/ 426 w 611"/>
                  <a:gd name="T7" fmla="*/ 17 h 720"/>
                  <a:gd name="T8" fmla="*/ 464 w 611"/>
                  <a:gd name="T9" fmla="*/ 32 h 720"/>
                  <a:gd name="T10" fmla="*/ 497 w 611"/>
                  <a:gd name="T11" fmla="*/ 50 h 720"/>
                  <a:gd name="T12" fmla="*/ 527 w 611"/>
                  <a:gd name="T13" fmla="*/ 73 h 720"/>
                  <a:gd name="T14" fmla="*/ 551 w 611"/>
                  <a:gd name="T15" fmla="*/ 100 h 720"/>
                  <a:gd name="T16" fmla="*/ 573 w 611"/>
                  <a:gd name="T17" fmla="*/ 131 h 720"/>
                  <a:gd name="T18" fmla="*/ 588 w 611"/>
                  <a:gd name="T19" fmla="*/ 165 h 720"/>
                  <a:gd name="T20" fmla="*/ 600 w 611"/>
                  <a:gd name="T21" fmla="*/ 203 h 720"/>
                  <a:gd name="T22" fmla="*/ 608 w 611"/>
                  <a:gd name="T23" fmla="*/ 244 h 720"/>
                  <a:gd name="T24" fmla="*/ 611 w 611"/>
                  <a:gd name="T25" fmla="*/ 289 h 720"/>
                  <a:gd name="T26" fmla="*/ 609 w 611"/>
                  <a:gd name="T27" fmla="*/ 351 h 720"/>
                  <a:gd name="T28" fmla="*/ 602 w 611"/>
                  <a:gd name="T29" fmla="*/ 410 h 720"/>
                  <a:gd name="T30" fmla="*/ 590 w 611"/>
                  <a:gd name="T31" fmla="*/ 463 h 720"/>
                  <a:gd name="T32" fmla="*/ 573 w 611"/>
                  <a:gd name="T33" fmla="*/ 514 h 720"/>
                  <a:gd name="T34" fmla="*/ 552 w 611"/>
                  <a:gd name="T35" fmla="*/ 559 h 720"/>
                  <a:gd name="T36" fmla="*/ 528 w 611"/>
                  <a:gd name="T37" fmla="*/ 599 h 720"/>
                  <a:gd name="T38" fmla="*/ 500 w 611"/>
                  <a:gd name="T39" fmla="*/ 634 h 720"/>
                  <a:gd name="T40" fmla="*/ 467 w 611"/>
                  <a:gd name="T41" fmla="*/ 665 h 720"/>
                  <a:gd name="T42" fmla="*/ 432 w 611"/>
                  <a:gd name="T43" fmla="*/ 688 h 720"/>
                  <a:gd name="T44" fmla="*/ 394 w 611"/>
                  <a:gd name="T45" fmla="*/ 706 h 720"/>
                  <a:gd name="T46" fmla="*/ 353 w 611"/>
                  <a:gd name="T47" fmla="*/ 717 h 720"/>
                  <a:gd name="T48" fmla="*/ 308 w 611"/>
                  <a:gd name="T49" fmla="*/ 720 h 720"/>
                  <a:gd name="T50" fmla="*/ 266 w 611"/>
                  <a:gd name="T51" fmla="*/ 719 h 720"/>
                  <a:gd name="T52" fmla="*/ 226 w 611"/>
                  <a:gd name="T53" fmla="*/ 711 h 720"/>
                  <a:gd name="T54" fmla="*/ 189 w 611"/>
                  <a:gd name="T55" fmla="*/ 697 h 720"/>
                  <a:gd name="T56" fmla="*/ 156 w 611"/>
                  <a:gd name="T57" fmla="*/ 679 h 720"/>
                  <a:gd name="T58" fmla="*/ 124 w 611"/>
                  <a:gd name="T59" fmla="*/ 655 h 720"/>
                  <a:gd name="T60" fmla="*/ 96 w 611"/>
                  <a:gd name="T61" fmla="*/ 626 h 720"/>
                  <a:gd name="T62" fmla="*/ 72 w 611"/>
                  <a:gd name="T63" fmla="*/ 592 h 720"/>
                  <a:gd name="T64" fmla="*/ 52 w 611"/>
                  <a:gd name="T65" fmla="*/ 553 h 720"/>
                  <a:gd name="T66" fmla="*/ 33 w 611"/>
                  <a:gd name="T67" fmla="*/ 511 h 720"/>
                  <a:gd name="T68" fmla="*/ 19 w 611"/>
                  <a:gd name="T69" fmla="*/ 463 h 720"/>
                  <a:gd name="T70" fmla="*/ 9 w 611"/>
                  <a:gd name="T71" fmla="*/ 411 h 720"/>
                  <a:gd name="T72" fmla="*/ 2 w 611"/>
                  <a:gd name="T73" fmla="*/ 356 h 720"/>
                  <a:gd name="T74" fmla="*/ 0 w 611"/>
                  <a:gd name="T75" fmla="*/ 296 h 720"/>
                  <a:gd name="T76" fmla="*/ 2 w 611"/>
                  <a:gd name="T77" fmla="*/ 248 h 720"/>
                  <a:gd name="T78" fmla="*/ 9 w 611"/>
                  <a:gd name="T79" fmla="*/ 203 h 720"/>
                  <a:gd name="T80" fmla="*/ 21 w 611"/>
                  <a:gd name="T81" fmla="*/ 163 h 720"/>
                  <a:gd name="T82" fmla="*/ 38 w 611"/>
                  <a:gd name="T83" fmla="*/ 126 h 720"/>
                  <a:gd name="T84" fmla="*/ 61 w 611"/>
                  <a:gd name="T85" fmla="*/ 94 h 720"/>
                  <a:gd name="T86" fmla="*/ 88 w 611"/>
                  <a:gd name="T87" fmla="*/ 67 h 720"/>
                  <a:gd name="T88" fmla="*/ 120 w 611"/>
                  <a:gd name="T89" fmla="*/ 44 h 720"/>
                  <a:gd name="T90" fmla="*/ 157 w 611"/>
                  <a:gd name="T91" fmla="*/ 26 h 720"/>
                  <a:gd name="T92" fmla="*/ 198 w 611"/>
                  <a:gd name="T93" fmla="*/ 13 h 720"/>
                  <a:gd name="T94" fmla="*/ 244 w 611"/>
                  <a:gd name="T95" fmla="*/ 4 h 720"/>
                  <a:gd name="T96" fmla="*/ 293 w 611"/>
                  <a:gd name="T97" fmla="*/ 0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11" h="720">
                    <a:moveTo>
                      <a:pt x="293" y="0"/>
                    </a:moveTo>
                    <a:lnTo>
                      <a:pt x="342" y="2"/>
                    </a:lnTo>
                    <a:lnTo>
                      <a:pt x="385" y="8"/>
                    </a:lnTo>
                    <a:lnTo>
                      <a:pt x="426" y="17"/>
                    </a:lnTo>
                    <a:lnTo>
                      <a:pt x="464" y="32"/>
                    </a:lnTo>
                    <a:lnTo>
                      <a:pt x="497" y="50"/>
                    </a:lnTo>
                    <a:lnTo>
                      <a:pt x="527" y="73"/>
                    </a:lnTo>
                    <a:lnTo>
                      <a:pt x="551" y="100"/>
                    </a:lnTo>
                    <a:lnTo>
                      <a:pt x="573" y="131"/>
                    </a:lnTo>
                    <a:lnTo>
                      <a:pt x="588" y="165"/>
                    </a:lnTo>
                    <a:lnTo>
                      <a:pt x="600" y="203"/>
                    </a:lnTo>
                    <a:lnTo>
                      <a:pt x="608" y="244"/>
                    </a:lnTo>
                    <a:lnTo>
                      <a:pt x="611" y="289"/>
                    </a:lnTo>
                    <a:lnTo>
                      <a:pt x="609" y="351"/>
                    </a:lnTo>
                    <a:lnTo>
                      <a:pt x="602" y="410"/>
                    </a:lnTo>
                    <a:lnTo>
                      <a:pt x="590" y="463"/>
                    </a:lnTo>
                    <a:lnTo>
                      <a:pt x="573" y="514"/>
                    </a:lnTo>
                    <a:lnTo>
                      <a:pt x="552" y="559"/>
                    </a:lnTo>
                    <a:lnTo>
                      <a:pt x="528" y="599"/>
                    </a:lnTo>
                    <a:lnTo>
                      <a:pt x="500" y="634"/>
                    </a:lnTo>
                    <a:lnTo>
                      <a:pt x="467" y="665"/>
                    </a:lnTo>
                    <a:lnTo>
                      <a:pt x="432" y="688"/>
                    </a:lnTo>
                    <a:lnTo>
                      <a:pt x="394" y="706"/>
                    </a:lnTo>
                    <a:lnTo>
                      <a:pt x="353" y="717"/>
                    </a:lnTo>
                    <a:lnTo>
                      <a:pt x="308" y="720"/>
                    </a:lnTo>
                    <a:lnTo>
                      <a:pt x="266" y="719"/>
                    </a:lnTo>
                    <a:lnTo>
                      <a:pt x="226" y="711"/>
                    </a:lnTo>
                    <a:lnTo>
                      <a:pt x="189" y="697"/>
                    </a:lnTo>
                    <a:lnTo>
                      <a:pt x="156" y="679"/>
                    </a:lnTo>
                    <a:lnTo>
                      <a:pt x="124" y="655"/>
                    </a:lnTo>
                    <a:lnTo>
                      <a:pt x="96" y="626"/>
                    </a:lnTo>
                    <a:lnTo>
                      <a:pt x="72" y="592"/>
                    </a:lnTo>
                    <a:lnTo>
                      <a:pt x="52" y="553"/>
                    </a:lnTo>
                    <a:lnTo>
                      <a:pt x="33" y="511"/>
                    </a:lnTo>
                    <a:lnTo>
                      <a:pt x="19" y="463"/>
                    </a:lnTo>
                    <a:lnTo>
                      <a:pt x="9" y="411"/>
                    </a:lnTo>
                    <a:lnTo>
                      <a:pt x="2" y="356"/>
                    </a:lnTo>
                    <a:lnTo>
                      <a:pt x="0" y="296"/>
                    </a:lnTo>
                    <a:lnTo>
                      <a:pt x="2" y="248"/>
                    </a:lnTo>
                    <a:lnTo>
                      <a:pt x="9" y="203"/>
                    </a:lnTo>
                    <a:lnTo>
                      <a:pt x="21" y="163"/>
                    </a:lnTo>
                    <a:lnTo>
                      <a:pt x="38" y="126"/>
                    </a:lnTo>
                    <a:lnTo>
                      <a:pt x="61" y="94"/>
                    </a:lnTo>
                    <a:lnTo>
                      <a:pt x="88" y="67"/>
                    </a:lnTo>
                    <a:lnTo>
                      <a:pt x="120" y="44"/>
                    </a:lnTo>
                    <a:lnTo>
                      <a:pt x="157" y="26"/>
                    </a:lnTo>
                    <a:lnTo>
                      <a:pt x="198" y="13"/>
                    </a:lnTo>
                    <a:lnTo>
                      <a:pt x="244" y="4"/>
                    </a:lnTo>
                    <a:lnTo>
                      <a:pt x="29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0" name="Freeform 49"/>
              <p:cNvSpPr>
                <a:spLocks/>
              </p:cNvSpPr>
              <p:nvPr/>
            </p:nvSpPr>
            <p:spPr bwMode="auto">
              <a:xfrm>
                <a:off x="-459" y="1638"/>
                <a:ext cx="38" cy="97"/>
              </a:xfrm>
              <a:custGeom>
                <a:avLst/>
                <a:gdLst>
                  <a:gd name="T0" fmla="*/ 186 w 186"/>
                  <a:gd name="T1" fmla="*/ 0 h 485"/>
                  <a:gd name="T2" fmla="*/ 186 w 186"/>
                  <a:gd name="T3" fmla="*/ 485 h 485"/>
                  <a:gd name="T4" fmla="*/ 0 w 186"/>
                  <a:gd name="T5" fmla="*/ 485 h 485"/>
                  <a:gd name="T6" fmla="*/ 2 w 186"/>
                  <a:gd name="T7" fmla="*/ 448 h 485"/>
                  <a:gd name="T8" fmla="*/ 6 w 186"/>
                  <a:gd name="T9" fmla="*/ 408 h 485"/>
                  <a:gd name="T10" fmla="*/ 12 w 186"/>
                  <a:gd name="T11" fmla="*/ 363 h 485"/>
                  <a:gd name="T12" fmla="*/ 65 w 186"/>
                  <a:gd name="T13" fmla="*/ 363 h 485"/>
                  <a:gd name="T14" fmla="*/ 65 w 186"/>
                  <a:gd name="T15" fmla="*/ 151 h 485"/>
                  <a:gd name="T16" fmla="*/ 82 w 186"/>
                  <a:gd name="T17" fmla="*/ 111 h 485"/>
                  <a:gd name="T18" fmla="*/ 102 w 186"/>
                  <a:gd name="T19" fmla="*/ 74 h 485"/>
                  <a:gd name="T20" fmla="*/ 127 w 186"/>
                  <a:gd name="T21" fmla="*/ 39 h 485"/>
                  <a:gd name="T22" fmla="*/ 153 w 186"/>
                  <a:gd name="T23" fmla="*/ 7 h 485"/>
                  <a:gd name="T24" fmla="*/ 170 w 186"/>
                  <a:gd name="T25" fmla="*/ 5 h 485"/>
                  <a:gd name="T26" fmla="*/ 186 w 186"/>
                  <a:gd name="T27" fmla="*/ 0 h 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6" h="485">
                    <a:moveTo>
                      <a:pt x="186" y="0"/>
                    </a:moveTo>
                    <a:lnTo>
                      <a:pt x="186" y="485"/>
                    </a:lnTo>
                    <a:lnTo>
                      <a:pt x="0" y="485"/>
                    </a:lnTo>
                    <a:lnTo>
                      <a:pt x="2" y="448"/>
                    </a:lnTo>
                    <a:lnTo>
                      <a:pt x="6" y="408"/>
                    </a:lnTo>
                    <a:lnTo>
                      <a:pt x="12" y="363"/>
                    </a:lnTo>
                    <a:lnTo>
                      <a:pt x="65" y="363"/>
                    </a:lnTo>
                    <a:lnTo>
                      <a:pt x="65" y="151"/>
                    </a:lnTo>
                    <a:lnTo>
                      <a:pt x="82" y="111"/>
                    </a:lnTo>
                    <a:lnTo>
                      <a:pt x="102" y="74"/>
                    </a:lnTo>
                    <a:lnTo>
                      <a:pt x="127" y="39"/>
                    </a:lnTo>
                    <a:lnTo>
                      <a:pt x="153" y="7"/>
                    </a:lnTo>
                    <a:lnTo>
                      <a:pt x="170" y="5"/>
                    </a:lnTo>
                    <a:lnTo>
                      <a:pt x="18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1" name="Rectangle 50"/>
              <p:cNvSpPr>
                <a:spLocks noChangeArrowheads="1"/>
              </p:cNvSpPr>
              <p:nvPr/>
            </p:nvSpPr>
            <p:spPr bwMode="auto">
              <a:xfrm>
                <a:off x="-473" y="1776"/>
                <a:ext cx="324" cy="207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2" name="Freeform 51"/>
              <p:cNvSpPr>
                <a:spLocks noEditPoints="1"/>
              </p:cNvSpPr>
              <p:nvPr/>
            </p:nvSpPr>
            <p:spPr bwMode="auto">
              <a:xfrm>
                <a:off x="-892" y="1302"/>
                <a:ext cx="792" cy="684"/>
              </a:xfrm>
              <a:custGeom>
                <a:avLst/>
                <a:gdLst>
                  <a:gd name="T0" fmla="*/ 1603 w 3961"/>
                  <a:gd name="T1" fmla="*/ 3297 h 3418"/>
                  <a:gd name="T2" fmla="*/ 1322 w 3961"/>
                  <a:gd name="T3" fmla="*/ 3192 h 3418"/>
                  <a:gd name="T4" fmla="*/ 857 w 3961"/>
                  <a:gd name="T5" fmla="*/ 3047 h 3418"/>
                  <a:gd name="T6" fmla="*/ 3340 w 3961"/>
                  <a:gd name="T7" fmla="*/ 2195 h 3418"/>
                  <a:gd name="T8" fmla="*/ 2838 w 3961"/>
                  <a:gd name="T9" fmla="*/ 2195 h 3418"/>
                  <a:gd name="T10" fmla="*/ 2933 w 3961"/>
                  <a:gd name="T11" fmla="*/ 1557 h 3418"/>
                  <a:gd name="T12" fmla="*/ 2572 w 3961"/>
                  <a:gd name="T13" fmla="*/ 196 h 3418"/>
                  <a:gd name="T14" fmla="*/ 2382 w 3961"/>
                  <a:gd name="T15" fmla="*/ 1380 h 3418"/>
                  <a:gd name="T16" fmla="*/ 2804 w 3961"/>
                  <a:gd name="T17" fmla="*/ 1409 h 3418"/>
                  <a:gd name="T18" fmla="*/ 3134 w 3961"/>
                  <a:gd name="T19" fmla="*/ 1471 h 3418"/>
                  <a:gd name="T20" fmla="*/ 3319 w 3961"/>
                  <a:gd name="T21" fmla="*/ 1556 h 3418"/>
                  <a:gd name="T22" fmla="*/ 3366 w 3961"/>
                  <a:gd name="T23" fmla="*/ 1612 h 3418"/>
                  <a:gd name="T24" fmla="*/ 3551 w 3961"/>
                  <a:gd name="T25" fmla="*/ 2195 h 3418"/>
                  <a:gd name="T26" fmla="*/ 1912 w 3961"/>
                  <a:gd name="T27" fmla="*/ 2307 h 3418"/>
                  <a:gd name="T28" fmla="*/ 2043 w 3961"/>
                  <a:gd name="T29" fmla="*/ 2167 h 3418"/>
                  <a:gd name="T30" fmla="*/ 2052 w 3961"/>
                  <a:gd name="T31" fmla="*/ 2057 h 3418"/>
                  <a:gd name="T32" fmla="*/ 2075 w 3961"/>
                  <a:gd name="T33" fmla="*/ 1921 h 3418"/>
                  <a:gd name="T34" fmla="*/ 2120 w 3961"/>
                  <a:gd name="T35" fmla="*/ 1777 h 3418"/>
                  <a:gd name="T36" fmla="*/ 2193 w 3961"/>
                  <a:gd name="T37" fmla="*/ 1642 h 3418"/>
                  <a:gd name="T38" fmla="*/ 2267 w 3961"/>
                  <a:gd name="T39" fmla="*/ 1551 h 3418"/>
                  <a:gd name="T40" fmla="*/ 2396 w 3961"/>
                  <a:gd name="T41" fmla="*/ 1478 h 3418"/>
                  <a:gd name="T42" fmla="*/ 2445 w 3961"/>
                  <a:gd name="T43" fmla="*/ 1480 h 3418"/>
                  <a:gd name="T44" fmla="*/ 2474 w 3961"/>
                  <a:gd name="T45" fmla="*/ 1522 h 3418"/>
                  <a:gd name="T46" fmla="*/ 2457 w 3961"/>
                  <a:gd name="T47" fmla="*/ 1568 h 3418"/>
                  <a:gd name="T48" fmla="*/ 2319 w 3961"/>
                  <a:gd name="T49" fmla="*/ 1631 h 3418"/>
                  <a:gd name="T50" fmla="*/ 2239 w 3961"/>
                  <a:gd name="T51" fmla="*/ 1701 h 3418"/>
                  <a:gd name="T52" fmla="*/ 2176 w 3961"/>
                  <a:gd name="T53" fmla="*/ 1832 h 3418"/>
                  <a:gd name="T54" fmla="*/ 2139 w 3961"/>
                  <a:gd name="T55" fmla="*/ 1971 h 3418"/>
                  <a:gd name="T56" fmla="*/ 2121 w 3961"/>
                  <a:gd name="T57" fmla="*/ 2099 h 3418"/>
                  <a:gd name="T58" fmla="*/ 2116 w 3961"/>
                  <a:gd name="T59" fmla="*/ 2195 h 3418"/>
                  <a:gd name="T60" fmla="*/ 2564 w 3961"/>
                  <a:gd name="T61" fmla="*/ 1762 h 3418"/>
                  <a:gd name="T62" fmla="*/ 2464 w 3961"/>
                  <a:gd name="T63" fmla="*/ 1629 h 3418"/>
                  <a:gd name="T64" fmla="*/ 2509 w 3961"/>
                  <a:gd name="T65" fmla="*/ 1589 h 3418"/>
                  <a:gd name="T66" fmla="*/ 2522 w 3961"/>
                  <a:gd name="T67" fmla="*/ 1517 h 3418"/>
                  <a:gd name="T68" fmla="*/ 2486 w 3961"/>
                  <a:gd name="T69" fmla="*/ 1455 h 3418"/>
                  <a:gd name="T70" fmla="*/ 2421 w 3961"/>
                  <a:gd name="T71" fmla="*/ 1432 h 3418"/>
                  <a:gd name="T72" fmla="*/ 2273 w 3961"/>
                  <a:gd name="T73" fmla="*/ 1491 h 3418"/>
                  <a:gd name="T74" fmla="*/ 2230 w 3961"/>
                  <a:gd name="T75" fmla="*/ 1529 h 3418"/>
                  <a:gd name="T76" fmla="*/ 2213 w 3961"/>
                  <a:gd name="T77" fmla="*/ 1555 h 3418"/>
                  <a:gd name="T78" fmla="*/ 1918 w 3961"/>
                  <a:gd name="T79" fmla="*/ 1225 h 3418"/>
                  <a:gd name="T80" fmla="*/ 1919 w 3961"/>
                  <a:gd name="T81" fmla="*/ 1146 h 3418"/>
                  <a:gd name="T82" fmla="*/ 1972 w 3961"/>
                  <a:gd name="T83" fmla="*/ 1083 h 3418"/>
                  <a:gd name="T84" fmla="*/ 2049 w 3961"/>
                  <a:gd name="T85" fmla="*/ 1067 h 3418"/>
                  <a:gd name="T86" fmla="*/ 2121 w 3961"/>
                  <a:gd name="T87" fmla="*/ 1104 h 3418"/>
                  <a:gd name="T88" fmla="*/ 242 w 3961"/>
                  <a:gd name="T89" fmla="*/ 257 h 3418"/>
                  <a:gd name="T90" fmla="*/ 2002 w 3961"/>
                  <a:gd name="T91" fmla="*/ 2089 h 3418"/>
                  <a:gd name="T92" fmla="*/ 1322 w 3961"/>
                  <a:gd name="T93" fmla="*/ 2166 h 3418"/>
                  <a:gd name="T94" fmla="*/ 1724 w 3961"/>
                  <a:gd name="T95" fmla="*/ 3418 h 3418"/>
                  <a:gd name="T96" fmla="*/ 1152 w 3961"/>
                  <a:gd name="T97" fmla="*/ 2926 h 3418"/>
                  <a:gd name="T98" fmla="*/ 121 w 3961"/>
                  <a:gd name="T99" fmla="*/ 196 h 3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961" h="3418">
                    <a:moveTo>
                      <a:pt x="857" y="3047"/>
                    </a:moveTo>
                    <a:lnTo>
                      <a:pt x="857" y="3297"/>
                    </a:lnTo>
                    <a:lnTo>
                      <a:pt x="1603" y="3297"/>
                    </a:lnTo>
                    <a:lnTo>
                      <a:pt x="1603" y="3047"/>
                    </a:lnTo>
                    <a:lnTo>
                      <a:pt x="1322" y="3047"/>
                    </a:lnTo>
                    <a:lnTo>
                      <a:pt x="1322" y="3192"/>
                    </a:lnTo>
                    <a:lnTo>
                      <a:pt x="1152" y="3192"/>
                    </a:lnTo>
                    <a:lnTo>
                      <a:pt x="1152" y="3047"/>
                    </a:lnTo>
                    <a:lnTo>
                      <a:pt x="857" y="3047"/>
                    </a:lnTo>
                    <a:close/>
                    <a:moveTo>
                      <a:pt x="3286" y="1931"/>
                    </a:moveTo>
                    <a:lnTo>
                      <a:pt x="3286" y="2195"/>
                    </a:lnTo>
                    <a:lnTo>
                      <a:pt x="3340" y="2195"/>
                    </a:lnTo>
                    <a:lnTo>
                      <a:pt x="3286" y="1931"/>
                    </a:lnTo>
                    <a:close/>
                    <a:moveTo>
                      <a:pt x="2933" y="1557"/>
                    </a:moveTo>
                    <a:lnTo>
                      <a:pt x="2838" y="2195"/>
                    </a:lnTo>
                    <a:lnTo>
                      <a:pt x="3030" y="2195"/>
                    </a:lnTo>
                    <a:lnTo>
                      <a:pt x="2934" y="1557"/>
                    </a:lnTo>
                    <a:lnTo>
                      <a:pt x="2933" y="1557"/>
                    </a:lnTo>
                    <a:close/>
                    <a:moveTo>
                      <a:pt x="0" y="0"/>
                    </a:moveTo>
                    <a:lnTo>
                      <a:pt x="2572" y="0"/>
                    </a:lnTo>
                    <a:lnTo>
                      <a:pt x="2572" y="196"/>
                    </a:lnTo>
                    <a:lnTo>
                      <a:pt x="2353" y="196"/>
                    </a:lnTo>
                    <a:lnTo>
                      <a:pt x="2353" y="1349"/>
                    </a:lnTo>
                    <a:lnTo>
                      <a:pt x="2382" y="1380"/>
                    </a:lnTo>
                    <a:lnTo>
                      <a:pt x="2626" y="1518"/>
                    </a:lnTo>
                    <a:lnTo>
                      <a:pt x="2728" y="1474"/>
                    </a:lnTo>
                    <a:lnTo>
                      <a:pt x="2804" y="1409"/>
                    </a:lnTo>
                    <a:lnTo>
                      <a:pt x="2934" y="1532"/>
                    </a:lnTo>
                    <a:lnTo>
                      <a:pt x="3067" y="1411"/>
                    </a:lnTo>
                    <a:lnTo>
                      <a:pt x="3134" y="1471"/>
                    </a:lnTo>
                    <a:lnTo>
                      <a:pt x="3298" y="1544"/>
                    </a:lnTo>
                    <a:lnTo>
                      <a:pt x="3298" y="1545"/>
                    </a:lnTo>
                    <a:lnTo>
                      <a:pt x="3319" y="1556"/>
                    </a:lnTo>
                    <a:lnTo>
                      <a:pt x="3338" y="1571"/>
                    </a:lnTo>
                    <a:lnTo>
                      <a:pt x="3354" y="1590"/>
                    </a:lnTo>
                    <a:lnTo>
                      <a:pt x="3366" y="1612"/>
                    </a:lnTo>
                    <a:lnTo>
                      <a:pt x="3499" y="1938"/>
                    </a:lnTo>
                    <a:lnTo>
                      <a:pt x="3506" y="1961"/>
                    </a:lnTo>
                    <a:lnTo>
                      <a:pt x="3551" y="2195"/>
                    </a:lnTo>
                    <a:lnTo>
                      <a:pt x="3961" y="2195"/>
                    </a:lnTo>
                    <a:lnTo>
                      <a:pt x="3961" y="2307"/>
                    </a:lnTo>
                    <a:lnTo>
                      <a:pt x="1912" y="2307"/>
                    </a:lnTo>
                    <a:lnTo>
                      <a:pt x="1912" y="2195"/>
                    </a:lnTo>
                    <a:lnTo>
                      <a:pt x="2042" y="2195"/>
                    </a:lnTo>
                    <a:lnTo>
                      <a:pt x="2043" y="2167"/>
                    </a:lnTo>
                    <a:lnTo>
                      <a:pt x="2045" y="2134"/>
                    </a:lnTo>
                    <a:lnTo>
                      <a:pt x="2047" y="2098"/>
                    </a:lnTo>
                    <a:lnTo>
                      <a:pt x="2052" y="2057"/>
                    </a:lnTo>
                    <a:lnTo>
                      <a:pt x="2057" y="2014"/>
                    </a:lnTo>
                    <a:lnTo>
                      <a:pt x="2065" y="1968"/>
                    </a:lnTo>
                    <a:lnTo>
                      <a:pt x="2075" y="1921"/>
                    </a:lnTo>
                    <a:lnTo>
                      <a:pt x="2087" y="1872"/>
                    </a:lnTo>
                    <a:lnTo>
                      <a:pt x="2101" y="1824"/>
                    </a:lnTo>
                    <a:lnTo>
                      <a:pt x="2120" y="1777"/>
                    </a:lnTo>
                    <a:lnTo>
                      <a:pt x="2140" y="1729"/>
                    </a:lnTo>
                    <a:lnTo>
                      <a:pt x="2164" y="1684"/>
                    </a:lnTo>
                    <a:lnTo>
                      <a:pt x="2193" y="1642"/>
                    </a:lnTo>
                    <a:lnTo>
                      <a:pt x="2225" y="1602"/>
                    </a:lnTo>
                    <a:lnTo>
                      <a:pt x="2261" y="1567"/>
                    </a:lnTo>
                    <a:lnTo>
                      <a:pt x="2267" y="1551"/>
                    </a:lnTo>
                    <a:lnTo>
                      <a:pt x="2277" y="1538"/>
                    </a:lnTo>
                    <a:lnTo>
                      <a:pt x="2291" y="1528"/>
                    </a:lnTo>
                    <a:lnTo>
                      <a:pt x="2396" y="1478"/>
                    </a:lnTo>
                    <a:lnTo>
                      <a:pt x="2413" y="1474"/>
                    </a:lnTo>
                    <a:lnTo>
                      <a:pt x="2429" y="1475"/>
                    </a:lnTo>
                    <a:lnTo>
                      <a:pt x="2445" y="1480"/>
                    </a:lnTo>
                    <a:lnTo>
                      <a:pt x="2458" y="1491"/>
                    </a:lnTo>
                    <a:lnTo>
                      <a:pt x="2469" y="1505"/>
                    </a:lnTo>
                    <a:lnTo>
                      <a:pt x="2474" y="1522"/>
                    </a:lnTo>
                    <a:lnTo>
                      <a:pt x="2473" y="1539"/>
                    </a:lnTo>
                    <a:lnTo>
                      <a:pt x="2467" y="1555"/>
                    </a:lnTo>
                    <a:lnTo>
                      <a:pt x="2457" y="1568"/>
                    </a:lnTo>
                    <a:lnTo>
                      <a:pt x="2442" y="1578"/>
                    </a:lnTo>
                    <a:lnTo>
                      <a:pt x="2338" y="1626"/>
                    </a:lnTo>
                    <a:lnTo>
                      <a:pt x="2319" y="1631"/>
                    </a:lnTo>
                    <a:lnTo>
                      <a:pt x="2301" y="1630"/>
                    </a:lnTo>
                    <a:lnTo>
                      <a:pt x="2268" y="1664"/>
                    </a:lnTo>
                    <a:lnTo>
                      <a:pt x="2239" y="1701"/>
                    </a:lnTo>
                    <a:lnTo>
                      <a:pt x="2215" y="1743"/>
                    </a:lnTo>
                    <a:lnTo>
                      <a:pt x="2195" y="1786"/>
                    </a:lnTo>
                    <a:lnTo>
                      <a:pt x="2176" y="1832"/>
                    </a:lnTo>
                    <a:lnTo>
                      <a:pt x="2161" y="1878"/>
                    </a:lnTo>
                    <a:lnTo>
                      <a:pt x="2149" y="1924"/>
                    </a:lnTo>
                    <a:lnTo>
                      <a:pt x="2139" y="1971"/>
                    </a:lnTo>
                    <a:lnTo>
                      <a:pt x="2130" y="2017"/>
                    </a:lnTo>
                    <a:lnTo>
                      <a:pt x="2126" y="2059"/>
                    </a:lnTo>
                    <a:lnTo>
                      <a:pt x="2121" y="2099"/>
                    </a:lnTo>
                    <a:lnTo>
                      <a:pt x="2118" y="2135"/>
                    </a:lnTo>
                    <a:lnTo>
                      <a:pt x="2116" y="2168"/>
                    </a:lnTo>
                    <a:lnTo>
                      <a:pt x="2116" y="2195"/>
                    </a:lnTo>
                    <a:lnTo>
                      <a:pt x="2571" y="2195"/>
                    </a:lnTo>
                    <a:lnTo>
                      <a:pt x="2571" y="1766"/>
                    </a:lnTo>
                    <a:lnTo>
                      <a:pt x="2564" y="1762"/>
                    </a:lnTo>
                    <a:lnTo>
                      <a:pt x="2558" y="1760"/>
                    </a:lnTo>
                    <a:lnTo>
                      <a:pt x="2390" y="1664"/>
                    </a:lnTo>
                    <a:lnTo>
                      <a:pt x="2464" y="1629"/>
                    </a:lnTo>
                    <a:lnTo>
                      <a:pt x="2482" y="1619"/>
                    </a:lnTo>
                    <a:lnTo>
                      <a:pt x="2497" y="1604"/>
                    </a:lnTo>
                    <a:lnTo>
                      <a:pt x="2509" y="1589"/>
                    </a:lnTo>
                    <a:lnTo>
                      <a:pt x="2517" y="1571"/>
                    </a:lnTo>
                    <a:lnTo>
                      <a:pt x="2523" y="1544"/>
                    </a:lnTo>
                    <a:lnTo>
                      <a:pt x="2522" y="1517"/>
                    </a:lnTo>
                    <a:lnTo>
                      <a:pt x="2514" y="1492"/>
                    </a:lnTo>
                    <a:lnTo>
                      <a:pt x="2502" y="1471"/>
                    </a:lnTo>
                    <a:lnTo>
                      <a:pt x="2486" y="1455"/>
                    </a:lnTo>
                    <a:lnTo>
                      <a:pt x="2467" y="1442"/>
                    </a:lnTo>
                    <a:lnTo>
                      <a:pt x="2444" y="1435"/>
                    </a:lnTo>
                    <a:lnTo>
                      <a:pt x="2421" y="1432"/>
                    </a:lnTo>
                    <a:lnTo>
                      <a:pt x="2399" y="1435"/>
                    </a:lnTo>
                    <a:lnTo>
                      <a:pt x="2377" y="1442"/>
                    </a:lnTo>
                    <a:lnTo>
                      <a:pt x="2273" y="1491"/>
                    </a:lnTo>
                    <a:lnTo>
                      <a:pt x="2256" y="1501"/>
                    </a:lnTo>
                    <a:lnTo>
                      <a:pt x="2242" y="1514"/>
                    </a:lnTo>
                    <a:lnTo>
                      <a:pt x="2230" y="1529"/>
                    </a:lnTo>
                    <a:lnTo>
                      <a:pt x="2221" y="1547"/>
                    </a:lnTo>
                    <a:lnTo>
                      <a:pt x="2216" y="1551"/>
                    </a:lnTo>
                    <a:lnTo>
                      <a:pt x="2213" y="1555"/>
                    </a:lnTo>
                    <a:lnTo>
                      <a:pt x="1944" y="1272"/>
                    </a:lnTo>
                    <a:lnTo>
                      <a:pt x="1929" y="1249"/>
                    </a:lnTo>
                    <a:lnTo>
                      <a:pt x="1918" y="1225"/>
                    </a:lnTo>
                    <a:lnTo>
                      <a:pt x="1912" y="1198"/>
                    </a:lnTo>
                    <a:lnTo>
                      <a:pt x="1913" y="1172"/>
                    </a:lnTo>
                    <a:lnTo>
                      <a:pt x="1919" y="1146"/>
                    </a:lnTo>
                    <a:lnTo>
                      <a:pt x="1931" y="1122"/>
                    </a:lnTo>
                    <a:lnTo>
                      <a:pt x="1949" y="1100"/>
                    </a:lnTo>
                    <a:lnTo>
                      <a:pt x="1972" y="1083"/>
                    </a:lnTo>
                    <a:lnTo>
                      <a:pt x="1996" y="1072"/>
                    </a:lnTo>
                    <a:lnTo>
                      <a:pt x="2023" y="1067"/>
                    </a:lnTo>
                    <a:lnTo>
                      <a:pt x="2049" y="1067"/>
                    </a:lnTo>
                    <a:lnTo>
                      <a:pt x="2075" y="1074"/>
                    </a:lnTo>
                    <a:lnTo>
                      <a:pt x="2099" y="1087"/>
                    </a:lnTo>
                    <a:lnTo>
                      <a:pt x="2121" y="1104"/>
                    </a:lnTo>
                    <a:lnTo>
                      <a:pt x="2232" y="1221"/>
                    </a:lnTo>
                    <a:lnTo>
                      <a:pt x="2232" y="257"/>
                    </a:lnTo>
                    <a:lnTo>
                      <a:pt x="242" y="257"/>
                    </a:lnTo>
                    <a:lnTo>
                      <a:pt x="242" y="2044"/>
                    </a:lnTo>
                    <a:lnTo>
                      <a:pt x="2007" y="2044"/>
                    </a:lnTo>
                    <a:lnTo>
                      <a:pt x="2002" y="2089"/>
                    </a:lnTo>
                    <a:lnTo>
                      <a:pt x="1999" y="2129"/>
                    </a:lnTo>
                    <a:lnTo>
                      <a:pt x="1997" y="2166"/>
                    </a:lnTo>
                    <a:lnTo>
                      <a:pt x="1322" y="2166"/>
                    </a:lnTo>
                    <a:lnTo>
                      <a:pt x="1322" y="2926"/>
                    </a:lnTo>
                    <a:lnTo>
                      <a:pt x="1724" y="2926"/>
                    </a:lnTo>
                    <a:lnTo>
                      <a:pt x="1724" y="3418"/>
                    </a:lnTo>
                    <a:lnTo>
                      <a:pt x="736" y="3418"/>
                    </a:lnTo>
                    <a:lnTo>
                      <a:pt x="736" y="2926"/>
                    </a:lnTo>
                    <a:lnTo>
                      <a:pt x="1152" y="2926"/>
                    </a:lnTo>
                    <a:lnTo>
                      <a:pt x="1152" y="2166"/>
                    </a:lnTo>
                    <a:lnTo>
                      <a:pt x="121" y="2166"/>
                    </a:lnTo>
                    <a:lnTo>
                      <a:pt x="121" y="196"/>
                    </a:lnTo>
                    <a:lnTo>
                      <a:pt x="0" y="19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3" name="Freeform 52"/>
              <p:cNvSpPr>
                <a:spLocks/>
              </p:cNvSpPr>
              <p:nvPr/>
            </p:nvSpPr>
            <p:spPr bwMode="auto">
              <a:xfrm>
                <a:off x="-748" y="1370"/>
                <a:ext cx="66" cy="67"/>
              </a:xfrm>
              <a:custGeom>
                <a:avLst/>
                <a:gdLst>
                  <a:gd name="T0" fmla="*/ 166 w 330"/>
                  <a:gd name="T1" fmla="*/ 0 h 331"/>
                  <a:gd name="T2" fmla="*/ 199 w 330"/>
                  <a:gd name="T3" fmla="*/ 4 h 331"/>
                  <a:gd name="T4" fmla="*/ 230 w 330"/>
                  <a:gd name="T5" fmla="*/ 14 h 331"/>
                  <a:gd name="T6" fmla="*/ 258 w 330"/>
                  <a:gd name="T7" fmla="*/ 30 h 331"/>
                  <a:gd name="T8" fmla="*/ 282 w 330"/>
                  <a:gd name="T9" fmla="*/ 49 h 331"/>
                  <a:gd name="T10" fmla="*/ 303 w 330"/>
                  <a:gd name="T11" fmla="*/ 74 h 331"/>
                  <a:gd name="T12" fmla="*/ 317 w 330"/>
                  <a:gd name="T13" fmla="*/ 102 h 331"/>
                  <a:gd name="T14" fmla="*/ 327 w 330"/>
                  <a:gd name="T15" fmla="*/ 133 h 331"/>
                  <a:gd name="T16" fmla="*/ 330 w 330"/>
                  <a:gd name="T17" fmla="*/ 166 h 331"/>
                  <a:gd name="T18" fmla="*/ 327 w 330"/>
                  <a:gd name="T19" fmla="*/ 199 h 331"/>
                  <a:gd name="T20" fmla="*/ 317 w 330"/>
                  <a:gd name="T21" fmla="*/ 231 h 331"/>
                  <a:gd name="T22" fmla="*/ 303 w 330"/>
                  <a:gd name="T23" fmla="*/ 259 h 331"/>
                  <a:gd name="T24" fmla="*/ 282 w 330"/>
                  <a:gd name="T25" fmla="*/ 283 h 331"/>
                  <a:gd name="T26" fmla="*/ 258 w 330"/>
                  <a:gd name="T27" fmla="*/ 303 h 331"/>
                  <a:gd name="T28" fmla="*/ 230 w 330"/>
                  <a:gd name="T29" fmla="*/ 319 h 331"/>
                  <a:gd name="T30" fmla="*/ 199 w 330"/>
                  <a:gd name="T31" fmla="*/ 329 h 331"/>
                  <a:gd name="T32" fmla="*/ 166 w 330"/>
                  <a:gd name="T33" fmla="*/ 331 h 331"/>
                  <a:gd name="T34" fmla="*/ 132 w 330"/>
                  <a:gd name="T35" fmla="*/ 329 h 331"/>
                  <a:gd name="T36" fmla="*/ 101 w 330"/>
                  <a:gd name="T37" fmla="*/ 319 h 331"/>
                  <a:gd name="T38" fmla="*/ 73 w 330"/>
                  <a:gd name="T39" fmla="*/ 303 h 331"/>
                  <a:gd name="T40" fmla="*/ 49 w 330"/>
                  <a:gd name="T41" fmla="*/ 283 h 331"/>
                  <a:gd name="T42" fmla="*/ 28 w 330"/>
                  <a:gd name="T43" fmla="*/ 259 h 331"/>
                  <a:gd name="T44" fmla="*/ 14 w 330"/>
                  <a:gd name="T45" fmla="*/ 231 h 331"/>
                  <a:gd name="T46" fmla="*/ 4 w 330"/>
                  <a:gd name="T47" fmla="*/ 199 h 331"/>
                  <a:gd name="T48" fmla="*/ 0 w 330"/>
                  <a:gd name="T49" fmla="*/ 166 h 331"/>
                  <a:gd name="T50" fmla="*/ 4 w 330"/>
                  <a:gd name="T51" fmla="*/ 133 h 331"/>
                  <a:gd name="T52" fmla="*/ 14 w 330"/>
                  <a:gd name="T53" fmla="*/ 102 h 331"/>
                  <a:gd name="T54" fmla="*/ 28 w 330"/>
                  <a:gd name="T55" fmla="*/ 74 h 331"/>
                  <a:gd name="T56" fmla="*/ 49 w 330"/>
                  <a:gd name="T57" fmla="*/ 49 h 331"/>
                  <a:gd name="T58" fmla="*/ 73 w 330"/>
                  <a:gd name="T59" fmla="*/ 30 h 331"/>
                  <a:gd name="T60" fmla="*/ 101 w 330"/>
                  <a:gd name="T61" fmla="*/ 14 h 331"/>
                  <a:gd name="T62" fmla="*/ 132 w 330"/>
                  <a:gd name="T63" fmla="*/ 4 h 331"/>
                  <a:gd name="T64" fmla="*/ 166 w 330"/>
                  <a:gd name="T65" fmla="*/ 0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30" h="331">
                    <a:moveTo>
                      <a:pt x="166" y="0"/>
                    </a:moveTo>
                    <a:lnTo>
                      <a:pt x="199" y="4"/>
                    </a:lnTo>
                    <a:lnTo>
                      <a:pt x="230" y="14"/>
                    </a:lnTo>
                    <a:lnTo>
                      <a:pt x="258" y="30"/>
                    </a:lnTo>
                    <a:lnTo>
                      <a:pt x="282" y="49"/>
                    </a:lnTo>
                    <a:lnTo>
                      <a:pt x="303" y="74"/>
                    </a:lnTo>
                    <a:lnTo>
                      <a:pt x="317" y="102"/>
                    </a:lnTo>
                    <a:lnTo>
                      <a:pt x="327" y="133"/>
                    </a:lnTo>
                    <a:lnTo>
                      <a:pt x="330" y="166"/>
                    </a:lnTo>
                    <a:lnTo>
                      <a:pt x="327" y="199"/>
                    </a:lnTo>
                    <a:lnTo>
                      <a:pt x="317" y="231"/>
                    </a:lnTo>
                    <a:lnTo>
                      <a:pt x="303" y="259"/>
                    </a:lnTo>
                    <a:lnTo>
                      <a:pt x="282" y="283"/>
                    </a:lnTo>
                    <a:lnTo>
                      <a:pt x="258" y="303"/>
                    </a:lnTo>
                    <a:lnTo>
                      <a:pt x="230" y="319"/>
                    </a:lnTo>
                    <a:lnTo>
                      <a:pt x="199" y="329"/>
                    </a:lnTo>
                    <a:lnTo>
                      <a:pt x="166" y="331"/>
                    </a:lnTo>
                    <a:lnTo>
                      <a:pt x="132" y="329"/>
                    </a:lnTo>
                    <a:lnTo>
                      <a:pt x="101" y="319"/>
                    </a:lnTo>
                    <a:lnTo>
                      <a:pt x="73" y="303"/>
                    </a:lnTo>
                    <a:lnTo>
                      <a:pt x="49" y="283"/>
                    </a:lnTo>
                    <a:lnTo>
                      <a:pt x="28" y="259"/>
                    </a:lnTo>
                    <a:lnTo>
                      <a:pt x="14" y="231"/>
                    </a:lnTo>
                    <a:lnTo>
                      <a:pt x="4" y="199"/>
                    </a:lnTo>
                    <a:lnTo>
                      <a:pt x="0" y="166"/>
                    </a:lnTo>
                    <a:lnTo>
                      <a:pt x="4" y="133"/>
                    </a:lnTo>
                    <a:lnTo>
                      <a:pt x="14" y="102"/>
                    </a:lnTo>
                    <a:lnTo>
                      <a:pt x="28" y="74"/>
                    </a:lnTo>
                    <a:lnTo>
                      <a:pt x="49" y="49"/>
                    </a:lnTo>
                    <a:lnTo>
                      <a:pt x="73" y="30"/>
                    </a:lnTo>
                    <a:lnTo>
                      <a:pt x="101" y="14"/>
                    </a:lnTo>
                    <a:lnTo>
                      <a:pt x="132" y="4"/>
                    </a:lnTo>
                    <a:lnTo>
                      <a:pt x="1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4" name="Freeform 53"/>
              <p:cNvSpPr>
                <a:spLocks noEditPoints="1"/>
              </p:cNvSpPr>
              <p:nvPr/>
            </p:nvSpPr>
            <p:spPr bwMode="auto">
              <a:xfrm>
                <a:off x="-782" y="1439"/>
                <a:ext cx="134" cy="251"/>
              </a:xfrm>
              <a:custGeom>
                <a:avLst/>
                <a:gdLst>
                  <a:gd name="T0" fmla="*/ 294 w 669"/>
                  <a:gd name="T1" fmla="*/ 315 h 1258"/>
                  <a:gd name="T2" fmla="*/ 335 w 669"/>
                  <a:gd name="T3" fmla="*/ 370 h 1258"/>
                  <a:gd name="T4" fmla="*/ 335 w 669"/>
                  <a:gd name="T5" fmla="*/ 49 h 1258"/>
                  <a:gd name="T6" fmla="*/ 294 w 669"/>
                  <a:gd name="T7" fmla="*/ 0 h 1258"/>
                  <a:gd name="T8" fmla="*/ 335 w 669"/>
                  <a:gd name="T9" fmla="*/ 42 h 1258"/>
                  <a:gd name="T10" fmla="*/ 406 w 669"/>
                  <a:gd name="T11" fmla="*/ 11 h 1258"/>
                  <a:gd name="T12" fmla="*/ 440 w 669"/>
                  <a:gd name="T13" fmla="*/ 29 h 1258"/>
                  <a:gd name="T14" fmla="*/ 469 w 669"/>
                  <a:gd name="T15" fmla="*/ 46 h 1258"/>
                  <a:gd name="T16" fmla="*/ 514 w 669"/>
                  <a:gd name="T17" fmla="*/ 79 h 1258"/>
                  <a:gd name="T18" fmla="*/ 554 w 669"/>
                  <a:gd name="T19" fmla="*/ 116 h 1258"/>
                  <a:gd name="T20" fmla="*/ 588 w 669"/>
                  <a:gd name="T21" fmla="*/ 162 h 1258"/>
                  <a:gd name="T22" fmla="*/ 617 w 669"/>
                  <a:gd name="T23" fmla="*/ 224 h 1258"/>
                  <a:gd name="T24" fmla="*/ 640 w 669"/>
                  <a:gd name="T25" fmla="*/ 303 h 1258"/>
                  <a:gd name="T26" fmla="*/ 657 w 669"/>
                  <a:gd name="T27" fmla="*/ 406 h 1258"/>
                  <a:gd name="T28" fmla="*/ 669 w 669"/>
                  <a:gd name="T29" fmla="*/ 537 h 1258"/>
                  <a:gd name="T30" fmla="*/ 659 w 669"/>
                  <a:gd name="T31" fmla="*/ 576 h 1258"/>
                  <a:gd name="T32" fmla="*/ 629 w 669"/>
                  <a:gd name="T33" fmla="*/ 600 h 1258"/>
                  <a:gd name="T34" fmla="*/ 605 w 669"/>
                  <a:gd name="T35" fmla="*/ 605 h 1258"/>
                  <a:gd name="T36" fmla="*/ 568 w 669"/>
                  <a:gd name="T37" fmla="*/ 594 h 1258"/>
                  <a:gd name="T38" fmla="*/ 545 w 669"/>
                  <a:gd name="T39" fmla="*/ 564 h 1258"/>
                  <a:gd name="T40" fmla="*/ 537 w 669"/>
                  <a:gd name="T41" fmla="*/ 487 h 1258"/>
                  <a:gd name="T42" fmla="*/ 526 w 669"/>
                  <a:gd name="T43" fmla="*/ 392 h 1258"/>
                  <a:gd name="T44" fmla="*/ 512 w 669"/>
                  <a:gd name="T45" fmla="*/ 319 h 1258"/>
                  <a:gd name="T46" fmla="*/ 503 w 669"/>
                  <a:gd name="T47" fmla="*/ 509 h 1258"/>
                  <a:gd name="T48" fmla="*/ 496 w 669"/>
                  <a:gd name="T49" fmla="*/ 553 h 1258"/>
                  <a:gd name="T50" fmla="*/ 487 w 669"/>
                  <a:gd name="T51" fmla="*/ 1183 h 1258"/>
                  <a:gd name="T52" fmla="*/ 478 w 669"/>
                  <a:gd name="T53" fmla="*/ 1221 h 1258"/>
                  <a:gd name="T54" fmla="*/ 450 w 669"/>
                  <a:gd name="T55" fmla="*/ 1249 h 1258"/>
                  <a:gd name="T56" fmla="*/ 412 w 669"/>
                  <a:gd name="T57" fmla="*/ 1258 h 1258"/>
                  <a:gd name="T58" fmla="*/ 374 w 669"/>
                  <a:gd name="T59" fmla="*/ 1249 h 1258"/>
                  <a:gd name="T60" fmla="*/ 347 w 669"/>
                  <a:gd name="T61" fmla="*/ 1221 h 1258"/>
                  <a:gd name="T62" fmla="*/ 336 w 669"/>
                  <a:gd name="T63" fmla="*/ 1183 h 1258"/>
                  <a:gd name="T64" fmla="*/ 335 w 669"/>
                  <a:gd name="T65" fmla="*/ 656 h 1258"/>
                  <a:gd name="T66" fmla="*/ 325 w 669"/>
                  <a:gd name="T67" fmla="*/ 1183 h 1258"/>
                  <a:gd name="T68" fmla="*/ 316 w 669"/>
                  <a:gd name="T69" fmla="*/ 1221 h 1258"/>
                  <a:gd name="T70" fmla="*/ 288 w 669"/>
                  <a:gd name="T71" fmla="*/ 1249 h 1258"/>
                  <a:gd name="T72" fmla="*/ 250 w 669"/>
                  <a:gd name="T73" fmla="*/ 1258 h 1258"/>
                  <a:gd name="T74" fmla="*/ 212 w 669"/>
                  <a:gd name="T75" fmla="*/ 1249 h 1258"/>
                  <a:gd name="T76" fmla="*/ 184 w 669"/>
                  <a:gd name="T77" fmla="*/ 1221 h 1258"/>
                  <a:gd name="T78" fmla="*/ 174 w 669"/>
                  <a:gd name="T79" fmla="*/ 1183 h 1258"/>
                  <a:gd name="T80" fmla="*/ 174 w 669"/>
                  <a:gd name="T81" fmla="*/ 562 h 1258"/>
                  <a:gd name="T82" fmla="*/ 168 w 669"/>
                  <a:gd name="T83" fmla="*/ 535 h 1258"/>
                  <a:gd name="T84" fmla="*/ 166 w 669"/>
                  <a:gd name="T85" fmla="*/ 287 h 1258"/>
                  <a:gd name="T86" fmla="*/ 150 w 669"/>
                  <a:gd name="T87" fmla="*/ 350 h 1258"/>
                  <a:gd name="T88" fmla="*/ 137 w 669"/>
                  <a:gd name="T89" fmla="*/ 435 h 1258"/>
                  <a:gd name="T90" fmla="*/ 127 w 669"/>
                  <a:gd name="T91" fmla="*/ 544 h 1258"/>
                  <a:gd name="T92" fmla="*/ 114 w 669"/>
                  <a:gd name="T93" fmla="*/ 581 h 1258"/>
                  <a:gd name="T94" fmla="*/ 84 w 669"/>
                  <a:gd name="T95" fmla="*/ 602 h 1258"/>
                  <a:gd name="T96" fmla="*/ 59 w 669"/>
                  <a:gd name="T97" fmla="*/ 605 h 1258"/>
                  <a:gd name="T98" fmla="*/ 23 w 669"/>
                  <a:gd name="T99" fmla="*/ 590 h 1258"/>
                  <a:gd name="T100" fmla="*/ 1 w 669"/>
                  <a:gd name="T101" fmla="*/ 558 h 1258"/>
                  <a:gd name="T102" fmla="*/ 5 w 669"/>
                  <a:gd name="T103" fmla="*/ 468 h 1258"/>
                  <a:gd name="T104" fmla="*/ 19 w 669"/>
                  <a:gd name="T105" fmla="*/ 352 h 1258"/>
                  <a:gd name="T106" fmla="*/ 40 w 669"/>
                  <a:gd name="T107" fmla="*/ 261 h 1258"/>
                  <a:gd name="T108" fmla="*/ 65 w 669"/>
                  <a:gd name="T109" fmla="*/ 192 h 1258"/>
                  <a:gd name="T110" fmla="*/ 97 w 669"/>
                  <a:gd name="T111" fmla="*/ 138 h 1258"/>
                  <a:gd name="T112" fmla="*/ 133 w 669"/>
                  <a:gd name="T113" fmla="*/ 97 h 1258"/>
                  <a:gd name="T114" fmla="*/ 175 w 669"/>
                  <a:gd name="T115" fmla="*/ 62 h 1258"/>
                  <a:gd name="T116" fmla="*/ 224 w 669"/>
                  <a:gd name="T117" fmla="*/ 32 h 1258"/>
                  <a:gd name="T118" fmla="*/ 233 w 669"/>
                  <a:gd name="T119" fmla="*/ 27 h 1258"/>
                  <a:gd name="T120" fmla="*/ 294 w 669"/>
                  <a:gd name="T121" fmla="*/ 0 h 1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69" h="1258">
                    <a:moveTo>
                      <a:pt x="334" y="49"/>
                    </a:moveTo>
                    <a:lnTo>
                      <a:pt x="294" y="315"/>
                    </a:lnTo>
                    <a:lnTo>
                      <a:pt x="334" y="370"/>
                    </a:lnTo>
                    <a:lnTo>
                      <a:pt x="335" y="370"/>
                    </a:lnTo>
                    <a:lnTo>
                      <a:pt x="375" y="315"/>
                    </a:lnTo>
                    <a:lnTo>
                      <a:pt x="335" y="49"/>
                    </a:lnTo>
                    <a:lnTo>
                      <a:pt x="334" y="49"/>
                    </a:lnTo>
                    <a:close/>
                    <a:moveTo>
                      <a:pt x="294" y="0"/>
                    </a:moveTo>
                    <a:lnTo>
                      <a:pt x="295" y="0"/>
                    </a:lnTo>
                    <a:lnTo>
                      <a:pt x="335" y="42"/>
                    </a:lnTo>
                    <a:lnTo>
                      <a:pt x="376" y="0"/>
                    </a:lnTo>
                    <a:lnTo>
                      <a:pt x="406" y="11"/>
                    </a:lnTo>
                    <a:lnTo>
                      <a:pt x="435" y="27"/>
                    </a:lnTo>
                    <a:lnTo>
                      <a:pt x="440" y="29"/>
                    </a:lnTo>
                    <a:lnTo>
                      <a:pt x="444" y="32"/>
                    </a:lnTo>
                    <a:lnTo>
                      <a:pt x="469" y="46"/>
                    </a:lnTo>
                    <a:lnTo>
                      <a:pt x="492" y="62"/>
                    </a:lnTo>
                    <a:lnTo>
                      <a:pt x="514" y="79"/>
                    </a:lnTo>
                    <a:lnTo>
                      <a:pt x="535" y="97"/>
                    </a:lnTo>
                    <a:lnTo>
                      <a:pt x="554" y="116"/>
                    </a:lnTo>
                    <a:lnTo>
                      <a:pt x="572" y="138"/>
                    </a:lnTo>
                    <a:lnTo>
                      <a:pt x="588" y="162"/>
                    </a:lnTo>
                    <a:lnTo>
                      <a:pt x="603" y="192"/>
                    </a:lnTo>
                    <a:lnTo>
                      <a:pt x="617" y="224"/>
                    </a:lnTo>
                    <a:lnTo>
                      <a:pt x="629" y="261"/>
                    </a:lnTo>
                    <a:lnTo>
                      <a:pt x="640" y="303"/>
                    </a:lnTo>
                    <a:lnTo>
                      <a:pt x="649" y="352"/>
                    </a:lnTo>
                    <a:lnTo>
                      <a:pt x="657" y="406"/>
                    </a:lnTo>
                    <a:lnTo>
                      <a:pt x="664" y="468"/>
                    </a:lnTo>
                    <a:lnTo>
                      <a:pt x="669" y="537"/>
                    </a:lnTo>
                    <a:lnTo>
                      <a:pt x="666" y="558"/>
                    </a:lnTo>
                    <a:lnTo>
                      <a:pt x="659" y="576"/>
                    </a:lnTo>
                    <a:lnTo>
                      <a:pt x="646" y="590"/>
                    </a:lnTo>
                    <a:lnTo>
                      <a:pt x="629" y="600"/>
                    </a:lnTo>
                    <a:lnTo>
                      <a:pt x="608" y="605"/>
                    </a:lnTo>
                    <a:lnTo>
                      <a:pt x="605" y="605"/>
                    </a:lnTo>
                    <a:lnTo>
                      <a:pt x="585" y="602"/>
                    </a:lnTo>
                    <a:lnTo>
                      <a:pt x="568" y="594"/>
                    </a:lnTo>
                    <a:lnTo>
                      <a:pt x="554" y="581"/>
                    </a:lnTo>
                    <a:lnTo>
                      <a:pt x="545" y="564"/>
                    </a:lnTo>
                    <a:lnTo>
                      <a:pt x="541" y="544"/>
                    </a:lnTo>
                    <a:lnTo>
                      <a:pt x="537" y="487"/>
                    </a:lnTo>
                    <a:lnTo>
                      <a:pt x="532" y="436"/>
                    </a:lnTo>
                    <a:lnTo>
                      <a:pt x="526" y="392"/>
                    </a:lnTo>
                    <a:lnTo>
                      <a:pt x="519" y="353"/>
                    </a:lnTo>
                    <a:lnTo>
                      <a:pt x="512" y="319"/>
                    </a:lnTo>
                    <a:lnTo>
                      <a:pt x="503" y="289"/>
                    </a:lnTo>
                    <a:lnTo>
                      <a:pt x="503" y="509"/>
                    </a:lnTo>
                    <a:lnTo>
                      <a:pt x="502" y="532"/>
                    </a:lnTo>
                    <a:lnTo>
                      <a:pt x="496" y="553"/>
                    </a:lnTo>
                    <a:lnTo>
                      <a:pt x="487" y="571"/>
                    </a:lnTo>
                    <a:lnTo>
                      <a:pt x="487" y="1183"/>
                    </a:lnTo>
                    <a:lnTo>
                      <a:pt x="485" y="1202"/>
                    </a:lnTo>
                    <a:lnTo>
                      <a:pt x="478" y="1221"/>
                    </a:lnTo>
                    <a:lnTo>
                      <a:pt x="466" y="1236"/>
                    </a:lnTo>
                    <a:lnTo>
                      <a:pt x="450" y="1249"/>
                    </a:lnTo>
                    <a:lnTo>
                      <a:pt x="432" y="1256"/>
                    </a:lnTo>
                    <a:lnTo>
                      <a:pt x="412" y="1258"/>
                    </a:lnTo>
                    <a:lnTo>
                      <a:pt x="392" y="1256"/>
                    </a:lnTo>
                    <a:lnTo>
                      <a:pt x="374" y="1249"/>
                    </a:lnTo>
                    <a:lnTo>
                      <a:pt x="358" y="1236"/>
                    </a:lnTo>
                    <a:lnTo>
                      <a:pt x="347" y="1221"/>
                    </a:lnTo>
                    <a:lnTo>
                      <a:pt x="339" y="1202"/>
                    </a:lnTo>
                    <a:lnTo>
                      <a:pt x="336" y="1183"/>
                    </a:lnTo>
                    <a:lnTo>
                      <a:pt x="336" y="656"/>
                    </a:lnTo>
                    <a:lnTo>
                      <a:pt x="335" y="656"/>
                    </a:lnTo>
                    <a:lnTo>
                      <a:pt x="325" y="655"/>
                    </a:lnTo>
                    <a:lnTo>
                      <a:pt x="325" y="1183"/>
                    </a:lnTo>
                    <a:lnTo>
                      <a:pt x="323" y="1202"/>
                    </a:lnTo>
                    <a:lnTo>
                      <a:pt x="316" y="1221"/>
                    </a:lnTo>
                    <a:lnTo>
                      <a:pt x="304" y="1236"/>
                    </a:lnTo>
                    <a:lnTo>
                      <a:pt x="288" y="1249"/>
                    </a:lnTo>
                    <a:lnTo>
                      <a:pt x="270" y="1256"/>
                    </a:lnTo>
                    <a:lnTo>
                      <a:pt x="250" y="1258"/>
                    </a:lnTo>
                    <a:lnTo>
                      <a:pt x="230" y="1256"/>
                    </a:lnTo>
                    <a:lnTo>
                      <a:pt x="212" y="1249"/>
                    </a:lnTo>
                    <a:lnTo>
                      <a:pt x="196" y="1236"/>
                    </a:lnTo>
                    <a:lnTo>
                      <a:pt x="184" y="1221"/>
                    </a:lnTo>
                    <a:lnTo>
                      <a:pt x="177" y="1202"/>
                    </a:lnTo>
                    <a:lnTo>
                      <a:pt x="174" y="1183"/>
                    </a:lnTo>
                    <a:lnTo>
                      <a:pt x="174" y="567"/>
                    </a:lnTo>
                    <a:lnTo>
                      <a:pt x="174" y="562"/>
                    </a:lnTo>
                    <a:lnTo>
                      <a:pt x="174" y="558"/>
                    </a:lnTo>
                    <a:lnTo>
                      <a:pt x="168" y="535"/>
                    </a:lnTo>
                    <a:lnTo>
                      <a:pt x="166" y="509"/>
                    </a:lnTo>
                    <a:lnTo>
                      <a:pt x="166" y="287"/>
                    </a:lnTo>
                    <a:lnTo>
                      <a:pt x="157" y="316"/>
                    </a:lnTo>
                    <a:lnTo>
                      <a:pt x="150" y="350"/>
                    </a:lnTo>
                    <a:lnTo>
                      <a:pt x="143" y="390"/>
                    </a:lnTo>
                    <a:lnTo>
                      <a:pt x="137" y="435"/>
                    </a:lnTo>
                    <a:lnTo>
                      <a:pt x="132" y="486"/>
                    </a:lnTo>
                    <a:lnTo>
                      <a:pt x="127" y="544"/>
                    </a:lnTo>
                    <a:lnTo>
                      <a:pt x="123" y="564"/>
                    </a:lnTo>
                    <a:lnTo>
                      <a:pt x="114" y="581"/>
                    </a:lnTo>
                    <a:lnTo>
                      <a:pt x="100" y="594"/>
                    </a:lnTo>
                    <a:lnTo>
                      <a:pt x="84" y="602"/>
                    </a:lnTo>
                    <a:lnTo>
                      <a:pt x="64" y="605"/>
                    </a:lnTo>
                    <a:lnTo>
                      <a:pt x="59" y="605"/>
                    </a:lnTo>
                    <a:lnTo>
                      <a:pt x="40" y="600"/>
                    </a:lnTo>
                    <a:lnTo>
                      <a:pt x="23" y="590"/>
                    </a:lnTo>
                    <a:lnTo>
                      <a:pt x="10" y="576"/>
                    </a:lnTo>
                    <a:lnTo>
                      <a:pt x="1" y="558"/>
                    </a:lnTo>
                    <a:lnTo>
                      <a:pt x="0" y="537"/>
                    </a:lnTo>
                    <a:lnTo>
                      <a:pt x="5" y="468"/>
                    </a:lnTo>
                    <a:lnTo>
                      <a:pt x="11" y="406"/>
                    </a:lnTo>
                    <a:lnTo>
                      <a:pt x="19" y="352"/>
                    </a:lnTo>
                    <a:lnTo>
                      <a:pt x="29" y="303"/>
                    </a:lnTo>
                    <a:lnTo>
                      <a:pt x="40" y="261"/>
                    </a:lnTo>
                    <a:lnTo>
                      <a:pt x="52" y="224"/>
                    </a:lnTo>
                    <a:lnTo>
                      <a:pt x="65" y="192"/>
                    </a:lnTo>
                    <a:lnTo>
                      <a:pt x="80" y="162"/>
                    </a:lnTo>
                    <a:lnTo>
                      <a:pt x="97" y="138"/>
                    </a:lnTo>
                    <a:lnTo>
                      <a:pt x="114" y="116"/>
                    </a:lnTo>
                    <a:lnTo>
                      <a:pt x="133" y="97"/>
                    </a:lnTo>
                    <a:lnTo>
                      <a:pt x="154" y="79"/>
                    </a:lnTo>
                    <a:lnTo>
                      <a:pt x="175" y="62"/>
                    </a:lnTo>
                    <a:lnTo>
                      <a:pt x="200" y="46"/>
                    </a:lnTo>
                    <a:lnTo>
                      <a:pt x="224" y="32"/>
                    </a:lnTo>
                    <a:lnTo>
                      <a:pt x="229" y="28"/>
                    </a:lnTo>
                    <a:lnTo>
                      <a:pt x="233" y="27"/>
                    </a:lnTo>
                    <a:lnTo>
                      <a:pt x="263" y="11"/>
                    </a:lnTo>
                    <a:lnTo>
                      <a:pt x="29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5" name="Freeform 54"/>
              <p:cNvSpPr>
                <a:spLocks/>
              </p:cNvSpPr>
              <p:nvPr/>
            </p:nvSpPr>
            <p:spPr bwMode="auto">
              <a:xfrm>
                <a:off x="-617" y="1466"/>
                <a:ext cx="45" cy="46"/>
              </a:xfrm>
              <a:custGeom>
                <a:avLst/>
                <a:gdLst>
                  <a:gd name="T0" fmla="*/ 112 w 226"/>
                  <a:gd name="T1" fmla="*/ 0 h 227"/>
                  <a:gd name="T2" fmla="*/ 139 w 226"/>
                  <a:gd name="T3" fmla="*/ 4 h 227"/>
                  <a:gd name="T4" fmla="*/ 162 w 226"/>
                  <a:gd name="T5" fmla="*/ 12 h 227"/>
                  <a:gd name="T6" fmla="*/ 183 w 226"/>
                  <a:gd name="T7" fmla="*/ 26 h 227"/>
                  <a:gd name="T8" fmla="*/ 200 w 226"/>
                  <a:gd name="T9" fmla="*/ 43 h 227"/>
                  <a:gd name="T10" fmla="*/ 214 w 226"/>
                  <a:gd name="T11" fmla="*/ 64 h 227"/>
                  <a:gd name="T12" fmla="*/ 222 w 226"/>
                  <a:gd name="T13" fmla="*/ 87 h 227"/>
                  <a:gd name="T14" fmla="*/ 226 w 226"/>
                  <a:gd name="T15" fmla="*/ 114 h 227"/>
                  <a:gd name="T16" fmla="*/ 222 w 226"/>
                  <a:gd name="T17" fmla="*/ 140 h 227"/>
                  <a:gd name="T18" fmla="*/ 214 w 226"/>
                  <a:gd name="T19" fmla="*/ 164 h 227"/>
                  <a:gd name="T20" fmla="*/ 200 w 226"/>
                  <a:gd name="T21" fmla="*/ 184 h 227"/>
                  <a:gd name="T22" fmla="*/ 183 w 226"/>
                  <a:gd name="T23" fmla="*/ 201 h 227"/>
                  <a:gd name="T24" fmla="*/ 162 w 226"/>
                  <a:gd name="T25" fmla="*/ 215 h 227"/>
                  <a:gd name="T26" fmla="*/ 139 w 226"/>
                  <a:gd name="T27" fmla="*/ 223 h 227"/>
                  <a:gd name="T28" fmla="*/ 112 w 226"/>
                  <a:gd name="T29" fmla="*/ 227 h 227"/>
                  <a:gd name="T30" fmla="*/ 87 w 226"/>
                  <a:gd name="T31" fmla="*/ 223 h 227"/>
                  <a:gd name="T32" fmla="*/ 62 w 226"/>
                  <a:gd name="T33" fmla="*/ 215 h 227"/>
                  <a:gd name="T34" fmla="*/ 42 w 226"/>
                  <a:gd name="T35" fmla="*/ 201 h 227"/>
                  <a:gd name="T36" fmla="*/ 25 w 226"/>
                  <a:gd name="T37" fmla="*/ 184 h 227"/>
                  <a:gd name="T38" fmla="*/ 12 w 226"/>
                  <a:gd name="T39" fmla="*/ 164 h 227"/>
                  <a:gd name="T40" fmla="*/ 3 w 226"/>
                  <a:gd name="T41" fmla="*/ 140 h 227"/>
                  <a:gd name="T42" fmla="*/ 0 w 226"/>
                  <a:gd name="T43" fmla="*/ 114 h 227"/>
                  <a:gd name="T44" fmla="*/ 3 w 226"/>
                  <a:gd name="T45" fmla="*/ 87 h 227"/>
                  <a:gd name="T46" fmla="*/ 12 w 226"/>
                  <a:gd name="T47" fmla="*/ 64 h 227"/>
                  <a:gd name="T48" fmla="*/ 25 w 226"/>
                  <a:gd name="T49" fmla="*/ 43 h 227"/>
                  <a:gd name="T50" fmla="*/ 42 w 226"/>
                  <a:gd name="T51" fmla="*/ 26 h 227"/>
                  <a:gd name="T52" fmla="*/ 62 w 226"/>
                  <a:gd name="T53" fmla="*/ 12 h 227"/>
                  <a:gd name="T54" fmla="*/ 87 w 226"/>
                  <a:gd name="T55" fmla="*/ 4 h 227"/>
                  <a:gd name="T56" fmla="*/ 112 w 226"/>
                  <a:gd name="T57" fmla="*/ 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26" h="227">
                    <a:moveTo>
                      <a:pt x="112" y="0"/>
                    </a:moveTo>
                    <a:lnTo>
                      <a:pt x="139" y="4"/>
                    </a:lnTo>
                    <a:lnTo>
                      <a:pt x="162" y="12"/>
                    </a:lnTo>
                    <a:lnTo>
                      <a:pt x="183" y="26"/>
                    </a:lnTo>
                    <a:lnTo>
                      <a:pt x="200" y="43"/>
                    </a:lnTo>
                    <a:lnTo>
                      <a:pt x="214" y="64"/>
                    </a:lnTo>
                    <a:lnTo>
                      <a:pt x="222" y="87"/>
                    </a:lnTo>
                    <a:lnTo>
                      <a:pt x="226" y="114"/>
                    </a:lnTo>
                    <a:lnTo>
                      <a:pt x="222" y="140"/>
                    </a:lnTo>
                    <a:lnTo>
                      <a:pt x="214" y="164"/>
                    </a:lnTo>
                    <a:lnTo>
                      <a:pt x="200" y="184"/>
                    </a:lnTo>
                    <a:lnTo>
                      <a:pt x="183" y="201"/>
                    </a:lnTo>
                    <a:lnTo>
                      <a:pt x="162" y="215"/>
                    </a:lnTo>
                    <a:lnTo>
                      <a:pt x="139" y="223"/>
                    </a:lnTo>
                    <a:lnTo>
                      <a:pt x="112" y="227"/>
                    </a:lnTo>
                    <a:lnTo>
                      <a:pt x="87" y="223"/>
                    </a:lnTo>
                    <a:lnTo>
                      <a:pt x="62" y="215"/>
                    </a:lnTo>
                    <a:lnTo>
                      <a:pt x="42" y="201"/>
                    </a:lnTo>
                    <a:lnTo>
                      <a:pt x="25" y="184"/>
                    </a:lnTo>
                    <a:lnTo>
                      <a:pt x="12" y="164"/>
                    </a:lnTo>
                    <a:lnTo>
                      <a:pt x="3" y="140"/>
                    </a:lnTo>
                    <a:lnTo>
                      <a:pt x="0" y="114"/>
                    </a:lnTo>
                    <a:lnTo>
                      <a:pt x="3" y="87"/>
                    </a:lnTo>
                    <a:lnTo>
                      <a:pt x="12" y="64"/>
                    </a:lnTo>
                    <a:lnTo>
                      <a:pt x="25" y="43"/>
                    </a:lnTo>
                    <a:lnTo>
                      <a:pt x="42" y="26"/>
                    </a:lnTo>
                    <a:lnTo>
                      <a:pt x="62" y="12"/>
                    </a:lnTo>
                    <a:lnTo>
                      <a:pt x="87" y="4"/>
                    </a:lnTo>
                    <a:lnTo>
                      <a:pt x="11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36" name="Freeform 55"/>
              <p:cNvSpPr>
                <a:spLocks noEditPoints="1"/>
              </p:cNvSpPr>
              <p:nvPr/>
            </p:nvSpPr>
            <p:spPr bwMode="auto">
              <a:xfrm>
                <a:off x="-641" y="1513"/>
                <a:ext cx="92" cy="172"/>
              </a:xfrm>
              <a:custGeom>
                <a:avLst/>
                <a:gdLst>
                  <a:gd name="T0" fmla="*/ 202 w 457"/>
                  <a:gd name="T1" fmla="*/ 214 h 861"/>
                  <a:gd name="T2" fmla="*/ 230 w 457"/>
                  <a:gd name="T3" fmla="*/ 252 h 861"/>
                  <a:gd name="T4" fmla="*/ 230 w 457"/>
                  <a:gd name="T5" fmla="*/ 33 h 861"/>
                  <a:gd name="T6" fmla="*/ 202 w 457"/>
                  <a:gd name="T7" fmla="*/ 0 h 861"/>
                  <a:gd name="T8" fmla="*/ 229 w 457"/>
                  <a:gd name="T9" fmla="*/ 29 h 861"/>
                  <a:gd name="T10" fmla="*/ 279 w 457"/>
                  <a:gd name="T11" fmla="*/ 7 h 861"/>
                  <a:gd name="T12" fmla="*/ 304 w 457"/>
                  <a:gd name="T13" fmla="*/ 21 h 861"/>
                  <a:gd name="T14" fmla="*/ 343 w 457"/>
                  <a:gd name="T15" fmla="*/ 46 h 861"/>
                  <a:gd name="T16" fmla="*/ 374 w 457"/>
                  <a:gd name="T17" fmla="*/ 74 h 861"/>
                  <a:gd name="T18" fmla="*/ 402 w 457"/>
                  <a:gd name="T19" fmla="*/ 110 h 861"/>
                  <a:gd name="T20" fmla="*/ 424 w 457"/>
                  <a:gd name="T21" fmla="*/ 159 h 861"/>
                  <a:gd name="T22" fmla="*/ 442 w 457"/>
                  <a:gd name="T23" fmla="*/ 224 h 861"/>
                  <a:gd name="T24" fmla="*/ 454 w 457"/>
                  <a:gd name="T25" fmla="*/ 313 h 861"/>
                  <a:gd name="T26" fmla="*/ 455 w 457"/>
                  <a:gd name="T27" fmla="*/ 384 h 861"/>
                  <a:gd name="T28" fmla="*/ 433 w 457"/>
                  <a:gd name="T29" fmla="*/ 408 h 861"/>
                  <a:gd name="T30" fmla="*/ 414 w 457"/>
                  <a:gd name="T31" fmla="*/ 413 h 861"/>
                  <a:gd name="T32" fmla="*/ 384 w 457"/>
                  <a:gd name="T33" fmla="*/ 401 h 861"/>
                  <a:gd name="T34" fmla="*/ 370 w 457"/>
                  <a:gd name="T35" fmla="*/ 372 h 861"/>
                  <a:gd name="T36" fmla="*/ 362 w 457"/>
                  <a:gd name="T37" fmla="*/ 286 h 861"/>
                  <a:gd name="T38" fmla="*/ 351 w 457"/>
                  <a:gd name="T39" fmla="*/ 222 h 861"/>
                  <a:gd name="T40" fmla="*/ 345 w 457"/>
                  <a:gd name="T41" fmla="*/ 348 h 861"/>
                  <a:gd name="T42" fmla="*/ 334 w 457"/>
                  <a:gd name="T43" fmla="*/ 390 h 861"/>
                  <a:gd name="T44" fmla="*/ 332 w 457"/>
                  <a:gd name="T45" fmla="*/ 824 h 861"/>
                  <a:gd name="T46" fmla="*/ 312 w 457"/>
                  <a:gd name="T47" fmla="*/ 850 h 861"/>
                  <a:gd name="T48" fmla="*/ 282 w 457"/>
                  <a:gd name="T49" fmla="*/ 861 h 861"/>
                  <a:gd name="T50" fmla="*/ 252 w 457"/>
                  <a:gd name="T51" fmla="*/ 850 h 861"/>
                  <a:gd name="T52" fmla="*/ 233 w 457"/>
                  <a:gd name="T53" fmla="*/ 824 h 861"/>
                  <a:gd name="T54" fmla="*/ 230 w 457"/>
                  <a:gd name="T55" fmla="*/ 448 h 861"/>
                  <a:gd name="T56" fmla="*/ 223 w 457"/>
                  <a:gd name="T57" fmla="*/ 447 h 861"/>
                  <a:gd name="T58" fmla="*/ 221 w 457"/>
                  <a:gd name="T59" fmla="*/ 824 h 861"/>
                  <a:gd name="T60" fmla="*/ 202 w 457"/>
                  <a:gd name="T61" fmla="*/ 850 h 861"/>
                  <a:gd name="T62" fmla="*/ 171 w 457"/>
                  <a:gd name="T63" fmla="*/ 861 h 861"/>
                  <a:gd name="T64" fmla="*/ 141 w 457"/>
                  <a:gd name="T65" fmla="*/ 850 h 861"/>
                  <a:gd name="T66" fmla="*/ 123 w 457"/>
                  <a:gd name="T67" fmla="*/ 824 h 861"/>
                  <a:gd name="T68" fmla="*/ 120 w 457"/>
                  <a:gd name="T69" fmla="*/ 388 h 861"/>
                  <a:gd name="T70" fmla="*/ 115 w 457"/>
                  <a:gd name="T71" fmla="*/ 365 h 861"/>
                  <a:gd name="T72" fmla="*/ 114 w 457"/>
                  <a:gd name="T73" fmla="*/ 196 h 861"/>
                  <a:gd name="T74" fmla="*/ 101 w 457"/>
                  <a:gd name="T75" fmla="*/ 250 h 861"/>
                  <a:gd name="T76" fmla="*/ 91 w 457"/>
                  <a:gd name="T77" fmla="*/ 325 h 861"/>
                  <a:gd name="T78" fmla="*/ 84 w 457"/>
                  <a:gd name="T79" fmla="*/ 389 h 861"/>
                  <a:gd name="T80" fmla="*/ 61 w 457"/>
                  <a:gd name="T81" fmla="*/ 410 h 861"/>
                  <a:gd name="T82" fmla="*/ 42 w 457"/>
                  <a:gd name="T83" fmla="*/ 413 h 861"/>
                  <a:gd name="T84" fmla="*/ 11 w 457"/>
                  <a:gd name="T85" fmla="*/ 399 h 861"/>
                  <a:gd name="T86" fmla="*/ 0 w 457"/>
                  <a:gd name="T87" fmla="*/ 367 h 861"/>
                  <a:gd name="T88" fmla="*/ 10 w 457"/>
                  <a:gd name="T89" fmla="*/ 265 h 861"/>
                  <a:gd name="T90" fmla="*/ 25 w 457"/>
                  <a:gd name="T91" fmla="*/ 189 h 861"/>
                  <a:gd name="T92" fmla="*/ 44 w 457"/>
                  <a:gd name="T93" fmla="*/ 132 h 861"/>
                  <a:gd name="T94" fmla="*/ 69 w 457"/>
                  <a:gd name="T95" fmla="*/ 91 h 861"/>
                  <a:gd name="T96" fmla="*/ 100 w 457"/>
                  <a:gd name="T97" fmla="*/ 59 h 861"/>
                  <a:gd name="T98" fmla="*/ 135 w 457"/>
                  <a:gd name="T99" fmla="*/ 34 h 861"/>
                  <a:gd name="T100" fmla="*/ 160 w 457"/>
                  <a:gd name="T101" fmla="*/ 18 h 861"/>
                  <a:gd name="T102" fmla="*/ 202 w 457"/>
                  <a:gd name="T103" fmla="*/ 0 h 8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57" h="861">
                    <a:moveTo>
                      <a:pt x="229" y="33"/>
                    </a:moveTo>
                    <a:lnTo>
                      <a:pt x="202" y="214"/>
                    </a:lnTo>
                    <a:lnTo>
                      <a:pt x="229" y="252"/>
                    </a:lnTo>
                    <a:lnTo>
                      <a:pt x="230" y="252"/>
                    </a:lnTo>
                    <a:lnTo>
                      <a:pt x="257" y="214"/>
                    </a:lnTo>
                    <a:lnTo>
                      <a:pt x="230" y="33"/>
                    </a:lnTo>
                    <a:lnTo>
                      <a:pt x="229" y="33"/>
                    </a:lnTo>
                    <a:close/>
                    <a:moveTo>
                      <a:pt x="202" y="0"/>
                    </a:moveTo>
                    <a:lnTo>
                      <a:pt x="202" y="0"/>
                    </a:lnTo>
                    <a:lnTo>
                      <a:pt x="229" y="29"/>
                    </a:lnTo>
                    <a:lnTo>
                      <a:pt x="257" y="0"/>
                    </a:lnTo>
                    <a:lnTo>
                      <a:pt x="279" y="7"/>
                    </a:lnTo>
                    <a:lnTo>
                      <a:pt x="298" y="18"/>
                    </a:lnTo>
                    <a:lnTo>
                      <a:pt x="304" y="21"/>
                    </a:lnTo>
                    <a:lnTo>
                      <a:pt x="324" y="34"/>
                    </a:lnTo>
                    <a:lnTo>
                      <a:pt x="343" y="46"/>
                    </a:lnTo>
                    <a:lnTo>
                      <a:pt x="360" y="59"/>
                    </a:lnTo>
                    <a:lnTo>
                      <a:pt x="374" y="74"/>
                    </a:lnTo>
                    <a:lnTo>
                      <a:pt x="389" y="91"/>
                    </a:lnTo>
                    <a:lnTo>
                      <a:pt x="402" y="110"/>
                    </a:lnTo>
                    <a:lnTo>
                      <a:pt x="414" y="132"/>
                    </a:lnTo>
                    <a:lnTo>
                      <a:pt x="424" y="159"/>
                    </a:lnTo>
                    <a:lnTo>
                      <a:pt x="433" y="189"/>
                    </a:lnTo>
                    <a:lnTo>
                      <a:pt x="442" y="224"/>
                    </a:lnTo>
                    <a:lnTo>
                      <a:pt x="448" y="265"/>
                    </a:lnTo>
                    <a:lnTo>
                      <a:pt x="454" y="313"/>
                    </a:lnTo>
                    <a:lnTo>
                      <a:pt x="457" y="367"/>
                    </a:lnTo>
                    <a:lnTo>
                      <a:pt x="455" y="384"/>
                    </a:lnTo>
                    <a:lnTo>
                      <a:pt x="447" y="399"/>
                    </a:lnTo>
                    <a:lnTo>
                      <a:pt x="433" y="408"/>
                    </a:lnTo>
                    <a:lnTo>
                      <a:pt x="416" y="413"/>
                    </a:lnTo>
                    <a:lnTo>
                      <a:pt x="414" y="413"/>
                    </a:lnTo>
                    <a:lnTo>
                      <a:pt x="398" y="410"/>
                    </a:lnTo>
                    <a:lnTo>
                      <a:pt x="384" y="401"/>
                    </a:lnTo>
                    <a:lnTo>
                      <a:pt x="374" y="389"/>
                    </a:lnTo>
                    <a:lnTo>
                      <a:pt x="370" y="372"/>
                    </a:lnTo>
                    <a:lnTo>
                      <a:pt x="367" y="326"/>
                    </a:lnTo>
                    <a:lnTo>
                      <a:pt x="362" y="286"/>
                    </a:lnTo>
                    <a:lnTo>
                      <a:pt x="357" y="251"/>
                    </a:lnTo>
                    <a:lnTo>
                      <a:pt x="351" y="222"/>
                    </a:lnTo>
                    <a:lnTo>
                      <a:pt x="345" y="198"/>
                    </a:lnTo>
                    <a:lnTo>
                      <a:pt x="345" y="348"/>
                    </a:lnTo>
                    <a:lnTo>
                      <a:pt x="341" y="371"/>
                    </a:lnTo>
                    <a:lnTo>
                      <a:pt x="334" y="390"/>
                    </a:lnTo>
                    <a:lnTo>
                      <a:pt x="334" y="808"/>
                    </a:lnTo>
                    <a:lnTo>
                      <a:pt x="332" y="824"/>
                    </a:lnTo>
                    <a:lnTo>
                      <a:pt x="324" y="839"/>
                    </a:lnTo>
                    <a:lnTo>
                      <a:pt x="312" y="850"/>
                    </a:lnTo>
                    <a:lnTo>
                      <a:pt x="299" y="858"/>
                    </a:lnTo>
                    <a:lnTo>
                      <a:pt x="282" y="861"/>
                    </a:lnTo>
                    <a:lnTo>
                      <a:pt x="266" y="858"/>
                    </a:lnTo>
                    <a:lnTo>
                      <a:pt x="252" y="850"/>
                    </a:lnTo>
                    <a:lnTo>
                      <a:pt x="241" y="839"/>
                    </a:lnTo>
                    <a:lnTo>
                      <a:pt x="233" y="824"/>
                    </a:lnTo>
                    <a:lnTo>
                      <a:pt x="230" y="808"/>
                    </a:lnTo>
                    <a:lnTo>
                      <a:pt x="230" y="448"/>
                    </a:lnTo>
                    <a:lnTo>
                      <a:pt x="229" y="448"/>
                    </a:lnTo>
                    <a:lnTo>
                      <a:pt x="223" y="447"/>
                    </a:lnTo>
                    <a:lnTo>
                      <a:pt x="223" y="808"/>
                    </a:lnTo>
                    <a:lnTo>
                      <a:pt x="221" y="824"/>
                    </a:lnTo>
                    <a:lnTo>
                      <a:pt x="213" y="839"/>
                    </a:lnTo>
                    <a:lnTo>
                      <a:pt x="202" y="850"/>
                    </a:lnTo>
                    <a:lnTo>
                      <a:pt x="188" y="858"/>
                    </a:lnTo>
                    <a:lnTo>
                      <a:pt x="171" y="861"/>
                    </a:lnTo>
                    <a:lnTo>
                      <a:pt x="155" y="858"/>
                    </a:lnTo>
                    <a:lnTo>
                      <a:pt x="141" y="850"/>
                    </a:lnTo>
                    <a:lnTo>
                      <a:pt x="130" y="839"/>
                    </a:lnTo>
                    <a:lnTo>
                      <a:pt x="123" y="824"/>
                    </a:lnTo>
                    <a:lnTo>
                      <a:pt x="120" y="808"/>
                    </a:lnTo>
                    <a:lnTo>
                      <a:pt x="120" y="388"/>
                    </a:lnTo>
                    <a:lnTo>
                      <a:pt x="120" y="381"/>
                    </a:lnTo>
                    <a:lnTo>
                      <a:pt x="115" y="365"/>
                    </a:lnTo>
                    <a:lnTo>
                      <a:pt x="114" y="348"/>
                    </a:lnTo>
                    <a:lnTo>
                      <a:pt x="114" y="196"/>
                    </a:lnTo>
                    <a:lnTo>
                      <a:pt x="107" y="221"/>
                    </a:lnTo>
                    <a:lnTo>
                      <a:pt x="101" y="250"/>
                    </a:lnTo>
                    <a:lnTo>
                      <a:pt x="96" y="285"/>
                    </a:lnTo>
                    <a:lnTo>
                      <a:pt x="91" y="325"/>
                    </a:lnTo>
                    <a:lnTo>
                      <a:pt x="88" y="372"/>
                    </a:lnTo>
                    <a:lnTo>
                      <a:pt x="84" y="389"/>
                    </a:lnTo>
                    <a:lnTo>
                      <a:pt x="74" y="401"/>
                    </a:lnTo>
                    <a:lnTo>
                      <a:pt x="61" y="410"/>
                    </a:lnTo>
                    <a:lnTo>
                      <a:pt x="44" y="413"/>
                    </a:lnTo>
                    <a:lnTo>
                      <a:pt x="42" y="413"/>
                    </a:lnTo>
                    <a:lnTo>
                      <a:pt x="25" y="408"/>
                    </a:lnTo>
                    <a:lnTo>
                      <a:pt x="11" y="399"/>
                    </a:lnTo>
                    <a:lnTo>
                      <a:pt x="3" y="384"/>
                    </a:lnTo>
                    <a:lnTo>
                      <a:pt x="0" y="367"/>
                    </a:lnTo>
                    <a:lnTo>
                      <a:pt x="5" y="313"/>
                    </a:lnTo>
                    <a:lnTo>
                      <a:pt x="10" y="265"/>
                    </a:lnTo>
                    <a:lnTo>
                      <a:pt x="17" y="224"/>
                    </a:lnTo>
                    <a:lnTo>
                      <a:pt x="25" y="189"/>
                    </a:lnTo>
                    <a:lnTo>
                      <a:pt x="34" y="159"/>
                    </a:lnTo>
                    <a:lnTo>
                      <a:pt x="44" y="132"/>
                    </a:lnTo>
                    <a:lnTo>
                      <a:pt x="56" y="110"/>
                    </a:lnTo>
                    <a:lnTo>
                      <a:pt x="69" y="91"/>
                    </a:lnTo>
                    <a:lnTo>
                      <a:pt x="84" y="74"/>
                    </a:lnTo>
                    <a:lnTo>
                      <a:pt x="100" y="59"/>
                    </a:lnTo>
                    <a:lnTo>
                      <a:pt x="117" y="46"/>
                    </a:lnTo>
                    <a:lnTo>
                      <a:pt x="135" y="34"/>
                    </a:lnTo>
                    <a:lnTo>
                      <a:pt x="154" y="21"/>
                    </a:lnTo>
                    <a:lnTo>
                      <a:pt x="160" y="18"/>
                    </a:lnTo>
                    <a:lnTo>
                      <a:pt x="181" y="7"/>
                    </a:lnTo>
                    <a:lnTo>
                      <a:pt x="2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pic>
        <p:nvPicPr>
          <p:cNvPr id="2" name="Resim 1"/>
          <p:cNvPicPr>
            <a:picLocks noChangeAspect="1"/>
          </p:cNvPicPr>
          <p:nvPr/>
        </p:nvPicPr>
        <p:blipFill rotWithShape="1">
          <a:blip r:embed="rId2"/>
          <a:srcRect b="1155"/>
          <a:stretch/>
        </p:blipFill>
        <p:spPr>
          <a:xfrm>
            <a:off x="3851920" y="2780929"/>
            <a:ext cx="1457422" cy="1224136"/>
          </a:xfrm>
          <a:prstGeom prst="rect">
            <a:avLst/>
          </a:prstGeom>
        </p:spPr>
      </p:pic>
      <p:sp>
        <p:nvSpPr>
          <p:cNvPr id="51" name="Rectangle 50"/>
          <p:cNvSpPr/>
          <p:nvPr/>
        </p:nvSpPr>
        <p:spPr>
          <a:xfrm>
            <a:off x="3484731" y="5268934"/>
            <a:ext cx="3097168" cy="6429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r>
              <a:rPr lang="tr-TR" sz="1650" b="1" dirty="0" smtClean="0">
                <a:solidFill>
                  <a:srgbClr val="E7EBE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üzce Üniversitesi</a:t>
            </a:r>
            <a:endParaRPr lang="en-US" sz="1650" b="1" dirty="0">
              <a:solidFill>
                <a:srgbClr val="E7EBE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732240" y="3573016"/>
            <a:ext cx="2172248" cy="6429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tr-TR" sz="1650" b="1" dirty="0" smtClean="0">
                <a:solidFill>
                  <a:srgbClr val="E7EBE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bze Yüksek Teknoloji Enstitüsü</a:t>
            </a:r>
            <a:endParaRPr lang="en-US" sz="1650" b="1" dirty="0">
              <a:solidFill>
                <a:srgbClr val="E7EBE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481176" y="4171903"/>
            <a:ext cx="2172248" cy="6429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tr-TR" sz="1650" b="1" dirty="0" smtClean="0">
                <a:solidFill>
                  <a:srgbClr val="E7EBE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ant İzzet Baysal Üniversitesi</a:t>
            </a:r>
            <a:endParaRPr lang="en-US" sz="1650" b="1" dirty="0">
              <a:solidFill>
                <a:srgbClr val="E7EBE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Dikdörtgen 43"/>
          <p:cNvSpPr/>
          <p:nvPr/>
        </p:nvSpPr>
        <p:spPr>
          <a:xfrm>
            <a:off x="3529359" y="4032728"/>
            <a:ext cx="21227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r-TR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edef</a:t>
            </a:r>
            <a:r>
              <a:rPr lang="tr-TR" dirty="0">
                <a:solidFill>
                  <a:schemeClr val="tx2">
                    <a:lumMod val="75000"/>
                  </a:schemeClr>
                </a:solidFill>
                <a:latin typeface="Segoe UI Emoji" panose="020B0502040204020203" pitchFamily="34" charset="0"/>
                <a:ea typeface="Segoe UI Emoji" panose="020B0502040204020203" pitchFamily="34" charset="0"/>
              </a:rPr>
              <a:t> </a:t>
            </a:r>
            <a:r>
              <a:rPr lang="tr-TR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Üniversiteler</a:t>
            </a:r>
          </a:p>
        </p:txBody>
      </p:sp>
      <p:sp>
        <p:nvSpPr>
          <p:cNvPr id="4" name="Freeform 3"/>
          <p:cNvSpPr/>
          <p:nvPr/>
        </p:nvSpPr>
        <p:spPr>
          <a:xfrm>
            <a:off x="-36512" y="836712"/>
            <a:ext cx="5037992" cy="2822331"/>
          </a:xfrm>
          <a:custGeom>
            <a:avLst/>
            <a:gdLst>
              <a:gd name="connsiteX0" fmla="*/ 5298831 w 6717323"/>
              <a:gd name="connsiteY0" fmla="*/ 2860431 h 3763108"/>
              <a:gd name="connsiteX1" fmla="*/ 6717323 w 6717323"/>
              <a:gd name="connsiteY1" fmla="*/ 11723 h 3763108"/>
              <a:gd name="connsiteX2" fmla="*/ 0 w 6717323"/>
              <a:gd name="connsiteY2" fmla="*/ 0 h 3763108"/>
              <a:gd name="connsiteX3" fmla="*/ 0 w 6717323"/>
              <a:gd name="connsiteY3" fmla="*/ 3763108 h 3763108"/>
              <a:gd name="connsiteX4" fmla="*/ 5298831 w 6717323"/>
              <a:gd name="connsiteY4" fmla="*/ 2860431 h 37631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17323" h="3763108">
                <a:moveTo>
                  <a:pt x="5298831" y="2860431"/>
                </a:moveTo>
                <a:lnTo>
                  <a:pt x="6717323" y="11723"/>
                </a:lnTo>
                <a:lnTo>
                  <a:pt x="0" y="0"/>
                </a:lnTo>
                <a:lnTo>
                  <a:pt x="0" y="3763108"/>
                </a:lnTo>
                <a:lnTo>
                  <a:pt x="5298831" y="2860431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  <a:effectLst>
            <a:outerShdw blurRad="330200" dir="13260000" sx="104000" sy="104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b="1">
              <a:solidFill>
                <a:srgbClr val="E7EBEE"/>
              </a:solidFill>
              <a:latin typeface="Calibri" panose="020F0502020204030204"/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4067944" y="846176"/>
            <a:ext cx="4377196" cy="2294792"/>
          </a:xfrm>
          <a:custGeom>
            <a:avLst/>
            <a:gdLst>
              <a:gd name="connsiteX0" fmla="*/ 5802923 w 5802923"/>
              <a:gd name="connsiteY0" fmla="*/ 0 h 3083169"/>
              <a:gd name="connsiteX1" fmla="*/ 2754923 w 5802923"/>
              <a:gd name="connsiteY1" fmla="*/ 3083169 h 3083169"/>
              <a:gd name="connsiteX2" fmla="*/ 1371600 w 5802923"/>
              <a:gd name="connsiteY2" fmla="*/ 2883877 h 3083169"/>
              <a:gd name="connsiteX3" fmla="*/ 0 w 5802923"/>
              <a:gd name="connsiteY3" fmla="*/ 23446 h 3083169"/>
              <a:gd name="connsiteX4" fmla="*/ 5802923 w 5802923"/>
              <a:gd name="connsiteY4" fmla="*/ 0 h 3083169"/>
              <a:gd name="connsiteX0" fmla="*/ 5838092 w 5838092"/>
              <a:gd name="connsiteY0" fmla="*/ 0 h 3083169"/>
              <a:gd name="connsiteX1" fmla="*/ 2790092 w 5838092"/>
              <a:gd name="connsiteY1" fmla="*/ 3083169 h 3083169"/>
              <a:gd name="connsiteX2" fmla="*/ 1406769 w 5838092"/>
              <a:gd name="connsiteY2" fmla="*/ 2883877 h 3083169"/>
              <a:gd name="connsiteX3" fmla="*/ 0 w 5838092"/>
              <a:gd name="connsiteY3" fmla="*/ 23446 h 3083169"/>
              <a:gd name="connsiteX4" fmla="*/ 5838092 w 5838092"/>
              <a:gd name="connsiteY4" fmla="*/ 0 h 3083169"/>
              <a:gd name="connsiteX0" fmla="*/ 5827207 w 5827207"/>
              <a:gd name="connsiteY0" fmla="*/ 0 h 3072283"/>
              <a:gd name="connsiteX1" fmla="*/ 2790092 w 5827207"/>
              <a:gd name="connsiteY1" fmla="*/ 3072283 h 3072283"/>
              <a:gd name="connsiteX2" fmla="*/ 1406769 w 5827207"/>
              <a:gd name="connsiteY2" fmla="*/ 2872991 h 3072283"/>
              <a:gd name="connsiteX3" fmla="*/ 0 w 5827207"/>
              <a:gd name="connsiteY3" fmla="*/ 12560 h 3072283"/>
              <a:gd name="connsiteX4" fmla="*/ 5827207 w 5827207"/>
              <a:gd name="connsiteY4" fmla="*/ 0 h 3072283"/>
              <a:gd name="connsiteX0" fmla="*/ 5827207 w 5827207"/>
              <a:gd name="connsiteY0" fmla="*/ 0 h 3072283"/>
              <a:gd name="connsiteX1" fmla="*/ 2790092 w 5827207"/>
              <a:gd name="connsiteY1" fmla="*/ 3072283 h 3072283"/>
              <a:gd name="connsiteX2" fmla="*/ 1406769 w 5827207"/>
              <a:gd name="connsiteY2" fmla="*/ 2872991 h 3072283"/>
              <a:gd name="connsiteX3" fmla="*/ 0 w 5827207"/>
              <a:gd name="connsiteY3" fmla="*/ 12560 h 3072283"/>
              <a:gd name="connsiteX4" fmla="*/ 5827207 w 5827207"/>
              <a:gd name="connsiteY4" fmla="*/ 0 h 3072283"/>
              <a:gd name="connsiteX0" fmla="*/ 5813627 w 5813627"/>
              <a:gd name="connsiteY0" fmla="*/ 0 h 3063230"/>
              <a:gd name="connsiteX1" fmla="*/ 2790092 w 5813627"/>
              <a:gd name="connsiteY1" fmla="*/ 3063230 h 3063230"/>
              <a:gd name="connsiteX2" fmla="*/ 1406769 w 5813627"/>
              <a:gd name="connsiteY2" fmla="*/ 2863938 h 3063230"/>
              <a:gd name="connsiteX3" fmla="*/ 0 w 5813627"/>
              <a:gd name="connsiteY3" fmla="*/ 3507 h 3063230"/>
              <a:gd name="connsiteX4" fmla="*/ 5813627 w 5813627"/>
              <a:gd name="connsiteY4" fmla="*/ 0 h 3063230"/>
              <a:gd name="connsiteX0" fmla="*/ 5836261 w 5836261"/>
              <a:gd name="connsiteY0" fmla="*/ 1019 h 3059723"/>
              <a:gd name="connsiteX1" fmla="*/ 2790092 w 5836261"/>
              <a:gd name="connsiteY1" fmla="*/ 3059723 h 3059723"/>
              <a:gd name="connsiteX2" fmla="*/ 1406769 w 5836261"/>
              <a:gd name="connsiteY2" fmla="*/ 2860431 h 3059723"/>
              <a:gd name="connsiteX3" fmla="*/ 0 w 5836261"/>
              <a:gd name="connsiteY3" fmla="*/ 0 h 3059723"/>
              <a:gd name="connsiteX4" fmla="*/ 5836261 w 5836261"/>
              <a:gd name="connsiteY4" fmla="*/ 1019 h 3059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36261" h="3059723">
                <a:moveTo>
                  <a:pt x="5836261" y="1019"/>
                </a:moveTo>
                <a:lnTo>
                  <a:pt x="2790092" y="3059723"/>
                </a:lnTo>
                <a:lnTo>
                  <a:pt x="1406769" y="2860431"/>
                </a:lnTo>
                <a:lnTo>
                  <a:pt x="0" y="0"/>
                </a:lnTo>
                <a:lnTo>
                  <a:pt x="5836261" y="1019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>
            <a:outerShdw blurRad="330200" dir="13260000" sx="104000" sy="104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srgbClr val="E7EBEE"/>
              </a:solidFill>
              <a:latin typeface="Calibri" panose="020F0502020204030204"/>
            </a:endParaRPr>
          </a:p>
        </p:txBody>
      </p:sp>
      <p:grpSp>
        <p:nvGrpSpPr>
          <p:cNvPr id="65" name="Group 53"/>
          <p:cNvGrpSpPr/>
          <p:nvPr/>
        </p:nvGrpSpPr>
        <p:grpSpPr>
          <a:xfrm>
            <a:off x="5197937" y="2234387"/>
            <a:ext cx="623058" cy="618693"/>
            <a:chOff x="6948130" y="1439198"/>
            <a:chExt cx="1104405" cy="1128156"/>
          </a:xfrm>
        </p:grpSpPr>
        <p:sp>
          <p:nvSpPr>
            <p:cNvPr id="66" name="Oval 65"/>
            <p:cNvSpPr/>
            <p:nvPr/>
          </p:nvSpPr>
          <p:spPr>
            <a:xfrm>
              <a:off x="6948130" y="1439198"/>
              <a:ext cx="1104405" cy="112815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srgbClr val="E7EBEE"/>
                </a:solidFill>
                <a:latin typeface="Calibri" panose="020F0502020204030204"/>
              </a:endParaRPr>
            </a:p>
          </p:txBody>
        </p:sp>
        <p:grpSp>
          <p:nvGrpSpPr>
            <p:cNvPr id="67" name="Group 13"/>
            <p:cNvGrpSpPr>
              <a:grpSpLocks noChangeAspect="1"/>
            </p:cNvGrpSpPr>
            <p:nvPr/>
          </p:nvGrpSpPr>
          <p:grpSpPr bwMode="auto">
            <a:xfrm>
              <a:off x="7192064" y="1776614"/>
              <a:ext cx="605952" cy="528845"/>
              <a:chOff x="-268" y="223"/>
              <a:chExt cx="3112" cy="2716"/>
            </a:xfrm>
            <a:solidFill>
              <a:schemeClr val="accent4"/>
            </a:solidFill>
          </p:grpSpPr>
          <p:sp>
            <p:nvSpPr>
              <p:cNvPr id="68" name="Freeform 15"/>
              <p:cNvSpPr>
                <a:spLocks noEditPoints="1"/>
              </p:cNvSpPr>
              <p:nvPr/>
            </p:nvSpPr>
            <p:spPr bwMode="auto">
              <a:xfrm>
                <a:off x="-268" y="223"/>
                <a:ext cx="3112" cy="2716"/>
              </a:xfrm>
              <a:custGeom>
                <a:avLst/>
                <a:gdLst>
                  <a:gd name="T0" fmla="*/ 1195 w 6225"/>
                  <a:gd name="T1" fmla="*/ 2253 h 5434"/>
                  <a:gd name="T2" fmla="*/ 3491 w 6225"/>
                  <a:gd name="T3" fmla="*/ 568 h 5434"/>
                  <a:gd name="T4" fmla="*/ 3135 w 6225"/>
                  <a:gd name="T5" fmla="*/ 2595 h 5434"/>
                  <a:gd name="T6" fmla="*/ 5977 w 6225"/>
                  <a:gd name="T7" fmla="*/ 2605 h 5434"/>
                  <a:gd name="T8" fmla="*/ 5992 w 6225"/>
                  <a:gd name="T9" fmla="*/ 466 h 5434"/>
                  <a:gd name="T10" fmla="*/ 4625 w 6225"/>
                  <a:gd name="T11" fmla="*/ 17 h 5434"/>
                  <a:gd name="T12" fmla="*/ 4684 w 6225"/>
                  <a:gd name="T13" fmla="*/ 163 h 5434"/>
                  <a:gd name="T14" fmla="*/ 6127 w 6225"/>
                  <a:gd name="T15" fmla="*/ 2625 h 5434"/>
                  <a:gd name="T16" fmla="*/ 5970 w 6225"/>
                  <a:gd name="T17" fmla="*/ 2745 h 5434"/>
                  <a:gd name="T18" fmla="*/ 5374 w 6225"/>
                  <a:gd name="T19" fmla="*/ 4997 h 5434"/>
                  <a:gd name="T20" fmla="*/ 5312 w 6225"/>
                  <a:gd name="T21" fmla="*/ 5110 h 5434"/>
                  <a:gd name="T22" fmla="*/ 4654 w 6225"/>
                  <a:gd name="T23" fmla="*/ 5341 h 5434"/>
                  <a:gd name="T24" fmla="*/ 4561 w 6225"/>
                  <a:gd name="T25" fmla="*/ 5434 h 5434"/>
                  <a:gd name="T26" fmla="*/ 4468 w 6225"/>
                  <a:gd name="T27" fmla="*/ 5341 h 5434"/>
                  <a:gd name="T28" fmla="*/ 3810 w 6225"/>
                  <a:gd name="T29" fmla="*/ 5110 h 5434"/>
                  <a:gd name="T30" fmla="*/ 3748 w 6225"/>
                  <a:gd name="T31" fmla="*/ 4997 h 5434"/>
                  <a:gd name="T32" fmla="*/ 3154 w 6225"/>
                  <a:gd name="T33" fmla="*/ 2745 h 5434"/>
                  <a:gd name="T34" fmla="*/ 2995 w 6225"/>
                  <a:gd name="T35" fmla="*/ 2625 h 5434"/>
                  <a:gd name="T36" fmla="*/ 2768 w 6225"/>
                  <a:gd name="T37" fmla="*/ 1357 h 5434"/>
                  <a:gd name="T38" fmla="*/ 2683 w 6225"/>
                  <a:gd name="T39" fmla="*/ 1541 h 5434"/>
                  <a:gd name="T40" fmla="*/ 2282 w 6225"/>
                  <a:gd name="T41" fmla="*/ 1802 h 5434"/>
                  <a:gd name="T42" fmla="*/ 1855 w 6225"/>
                  <a:gd name="T43" fmla="*/ 1910 h 5434"/>
                  <a:gd name="T44" fmla="*/ 1628 w 6225"/>
                  <a:gd name="T45" fmla="*/ 2941 h 5434"/>
                  <a:gd name="T46" fmla="*/ 1590 w 6225"/>
                  <a:gd name="T47" fmla="*/ 3110 h 5434"/>
                  <a:gd name="T48" fmla="*/ 1605 w 6225"/>
                  <a:gd name="T49" fmla="*/ 3263 h 5434"/>
                  <a:gd name="T50" fmla="*/ 1639 w 6225"/>
                  <a:gd name="T51" fmla="*/ 3642 h 5434"/>
                  <a:gd name="T52" fmla="*/ 1685 w 6225"/>
                  <a:gd name="T53" fmla="*/ 4134 h 5434"/>
                  <a:gd name="T54" fmla="*/ 1730 w 6225"/>
                  <a:gd name="T55" fmla="*/ 4626 h 5434"/>
                  <a:gd name="T56" fmla="*/ 1764 w 6225"/>
                  <a:gd name="T57" fmla="*/ 5004 h 5434"/>
                  <a:gd name="T58" fmla="*/ 1777 w 6225"/>
                  <a:gd name="T59" fmla="*/ 5156 h 5434"/>
                  <a:gd name="T60" fmla="*/ 1685 w 6225"/>
                  <a:gd name="T61" fmla="*/ 5377 h 5434"/>
                  <a:gd name="T62" fmla="*/ 1524 w 6225"/>
                  <a:gd name="T63" fmla="*/ 5434 h 5434"/>
                  <a:gd name="T64" fmla="*/ 1320 w 6225"/>
                  <a:gd name="T65" fmla="*/ 5334 h 5434"/>
                  <a:gd name="T66" fmla="*/ 1085 w 6225"/>
                  <a:gd name="T67" fmla="*/ 3399 h 5434"/>
                  <a:gd name="T68" fmla="*/ 1017 w 6225"/>
                  <a:gd name="T69" fmla="*/ 3399 h 5434"/>
                  <a:gd name="T70" fmla="*/ 809 w 6225"/>
                  <a:gd name="T71" fmla="*/ 5366 h 5434"/>
                  <a:gd name="T72" fmla="*/ 616 w 6225"/>
                  <a:gd name="T73" fmla="*/ 5434 h 5434"/>
                  <a:gd name="T74" fmla="*/ 414 w 6225"/>
                  <a:gd name="T75" fmla="*/ 5305 h 5434"/>
                  <a:gd name="T76" fmla="*/ 518 w 6225"/>
                  <a:gd name="T77" fmla="*/ 3068 h 5434"/>
                  <a:gd name="T78" fmla="*/ 471 w 6225"/>
                  <a:gd name="T79" fmla="*/ 2285 h 5434"/>
                  <a:gd name="T80" fmla="*/ 433 w 6225"/>
                  <a:gd name="T81" fmla="*/ 2743 h 5434"/>
                  <a:gd name="T82" fmla="*/ 416 w 6225"/>
                  <a:gd name="T83" fmla="*/ 3100 h 5434"/>
                  <a:gd name="T84" fmla="*/ 246 w 6225"/>
                  <a:gd name="T85" fmla="*/ 3210 h 5434"/>
                  <a:gd name="T86" fmla="*/ 66 w 6225"/>
                  <a:gd name="T87" fmla="*/ 3138 h 5434"/>
                  <a:gd name="T88" fmla="*/ 0 w 6225"/>
                  <a:gd name="T89" fmla="*/ 2731 h 5434"/>
                  <a:gd name="T90" fmla="*/ 53 w 6225"/>
                  <a:gd name="T91" fmla="*/ 2169 h 5434"/>
                  <a:gd name="T92" fmla="*/ 204 w 6225"/>
                  <a:gd name="T93" fmla="*/ 1768 h 5434"/>
                  <a:gd name="T94" fmla="*/ 425 w 6225"/>
                  <a:gd name="T95" fmla="*/ 1492 h 5434"/>
                  <a:gd name="T96" fmla="*/ 688 w 6225"/>
                  <a:gd name="T97" fmla="*/ 1297 h 5434"/>
                  <a:gd name="T98" fmla="*/ 783 w 6225"/>
                  <a:gd name="T99" fmla="*/ 1250 h 5434"/>
                  <a:gd name="T100" fmla="*/ 919 w 6225"/>
                  <a:gd name="T101" fmla="*/ 1193 h 5434"/>
                  <a:gd name="T102" fmla="*/ 1250 w 6225"/>
                  <a:gd name="T103" fmla="*/ 1212 h 5434"/>
                  <a:gd name="T104" fmla="*/ 1407 w 6225"/>
                  <a:gd name="T105" fmla="*/ 1286 h 5434"/>
                  <a:gd name="T106" fmla="*/ 1656 w 6225"/>
                  <a:gd name="T107" fmla="*/ 1422 h 5434"/>
                  <a:gd name="T108" fmla="*/ 1938 w 6225"/>
                  <a:gd name="T109" fmla="*/ 1467 h 5434"/>
                  <a:gd name="T110" fmla="*/ 2216 w 6225"/>
                  <a:gd name="T111" fmla="*/ 1344 h 5434"/>
                  <a:gd name="T112" fmla="*/ 2498 w 6225"/>
                  <a:gd name="T113" fmla="*/ 1159 h 5434"/>
                  <a:gd name="T114" fmla="*/ 2693 w 6225"/>
                  <a:gd name="T115" fmla="*/ 1204 h 5434"/>
                  <a:gd name="T116" fmla="*/ 4438 w 6225"/>
                  <a:gd name="T117" fmla="*/ 163 h 5434"/>
                  <a:gd name="T118" fmla="*/ 4497 w 6225"/>
                  <a:gd name="T119" fmla="*/ 17 h 5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225" h="5434">
                    <a:moveTo>
                      <a:pt x="1057" y="1354"/>
                    </a:moveTo>
                    <a:lnTo>
                      <a:pt x="923" y="2253"/>
                    </a:lnTo>
                    <a:lnTo>
                      <a:pt x="1057" y="2438"/>
                    </a:lnTo>
                    <a:lnTo>
                      <a:pt x="1059" y="2438"/>
                    </a:lnTo>
                    <a:lnTo>
                      <a:pt x="1195" y="2253"/>
                    </a:lnTo>
                    <a:lnTo>
                      <a:pt x="1059" y="1354"/>
                    </a:lnTo>
                    <a:lnTo>
                      <a:pt x="1057" y="1354"/>
                    </a:lnTo>
                    <a:close/>
                    <a:moveTo>
                      <a:pt x="3131" y="466"/>
                    </a:moveTo>
                    <a:lnTo>
                      <a:pt x="3129" y="854"/>
                    </a:lnTo>
                    <a:lnTo>
                      <a:pt x="3491" y="568"/>
                    </a:lnTo>
                    <a:lnTo>
                      <a:pt x="3547" y="640"/>
                    </a:lnTo>
                    <a:lnTo>
                      <a:pt x="3129" y="973"/>
                    </a:lnTo>
                    <a:lnTo>
                      <a:pt x="3129" y="2582"/>
                    </a:lnTo>
                    <a:lnTo>
                      <a:pt x="3131" y="2589"/>
                    </a:lnTo>
                    <a:lnTo>
                      <a:pt x="3135" y="2595"/>
                    </a:lnTo>
                    <a:lnTo>
                      <a:pt x="3139" y="2601"/>
                    </a:lnTo>
                    <a:lnTo>
                      <a:pt x="3146" y="2605"/>
                    </a:lnTo>
                    <a:lnTo>
                      <a:pt x="3154" y="2605"/>
                    </a:lnTo>
                    <a:lnTo>
                      <a:pt x="5970" y="2605"/>
                    </a:lnTo>
                    <a:lnTo>
                      <a:pt x="5977" y="2605"/>
                    </a:lnTo>
                    <a:lnTo>
                      <a:pt x="5983" y="2601"/>
                    </a:lnTo>
                    <a:lnTo>
                      <a:pt x="5989" y="2595"/>
                    </a:lnTo>
                    <a:lnTo>
                      <a:pt x="5990" y="2589"/>
                    </a:lnTo>
                    <a:lnTo>
                      <a:pt x="5992" y="2582"/>
                    </a:lnTo>
                    <a:lnTo>
                      <a:pt x="5992" y="466"/>
                    </a:lnTo>
                    <a:lnTo>
                      <a:pt x="3131" y="466"/>
                    </a:lnTo>
                    <a:close/>
                    <a:moveTo>
                      <a:pt x="4555" y="0"/>
                    </a:moveTo>
                    <a:lnTo>
                      <a:pt x="4567" y="0"/>
                    </a:lnTo>
                    <a:lnTo>
                      <a:pt x="4599" y="6"/>
                    </a:lnTo>
                    <a:lnTo>
                      <a:pt x="4625" y="17"/>
                    </a:lnTo>
                    <a:lnTo>
                      <a:pt x="4650" y="35"/>
                    </a:lnTo>
                    <a:lnTo>
                      <a:pt x="4667" y="59"/>
                    </a:lnTo>
                    <a:lnTo>
                      <a:pt x="4680" y="88"/>
                    </a:lnTo>
                    <a:lnTo>
                      <a:pt x="4684" y="118"/>
                    </a:lnTo>
                    <a:lnTo>
                      <a:pt x="4684" y="163"/>
                    </a:lnTo>
                    <a:lnTo>
                      <a:pt x="6225" y="163"/>
                    </a:lnTo>
                    <a:lnTo>
                      <a:pt x="6225" y="466"/>
                    </a:lnTo>
                    <a:lnTo>
                      <a:pt x="6132" y="466"/>
                    </a:lnTo>
                    <a:lnTo>
                      <a:pt x="6132" y="2582"/>
                    </a:lnTo>
                    <a:lnTo>
                      <a:pt x="6127" y="2625"/>
                    </a:lnTo>
                    <a:lnTo>
                      <a:pt x="6110" y="2663"/>
                    </a:lnTo>
                    <a:lnTo>
                      <a:pt x="6085" y="2697"/>
                    </a:lnTo>
                    <a:lnTo>
                      <a:pt x="6051" y="2722"/>
                    </a:lnTo>
                    <a:lnTo>
                      <a:pt x="6013" y="2739"/>
                    </a:lnTo>
                    <a:lnTo>
                      <a:pt x="5970" y="2745"/>
                    </a:lnTo>
                    <a:lnTo>
                      <a:pt x="4655" y="2745"/>
                    </a:lnTo>
                    <a:lnTo>
                      <a:pt x="4655" y="4418"/>
                    </a:lnTo>
                    <a:lnTo>
                      <a:pt x="5342" y="4948"/>
                    </a:lnTo>
                    <a:lnTo>
                      <a:pt x="5363" y="4970"/>
                    </a:lnTo>
                    <a:lnTo>
                      <a:pt x="5374" y="4997"/>
                    </a:lnTo>
                    <a:lnTo>
                      <a:pt x="5378" y="5025"/>
                    </a:lnTo>
                    <a:lnTo>
                      <a:pt x="5372" y="5054"/>
                    </a:lnTo>
                    <a:lnTo>
                      <a:pt x="5359" y="5080"/>
                    </a:lnTo>
                    <a:lnTo>
                      <a:pt x="5336" y="5099"/>
                    </a:lnTo>
                    <a:lnTo>
                      <a:pt x="5312" y="5110"/>
                    </a:lnTo>
                    <a:lnTo>
                      <a:pt x="5285" y="5116"/>
                    </a:lnTo>
                    <a:lnTo>
                      <a:pt x="5255" y="5110"/>
                    </a:lnTo>
                    <a:lnTo>
                      <a:pt x="5228" y="5095"/>
                    </a:lnTo>
                    <a:lnTo>
                      <a:pt x="4654" y="4652"/>
                    </a:lnTo>
                    <a:lnTo>
                      <a:pt x="4654" y="5341"/>
                    </a:lnTo>
                    <a:lnTo>
                      <a:pt x="4650" y="5372"/>
                    </a:lnTo>
                    <a:lnTo>
                      <a:pt x="4637" y="5396"/>
                    </a:lnTo>
                    <a:lnTo>
                      <a:pt x="4616" y="5417"/>
                    </a:lnTo>
                    <a:lnTo>
                      <a:pt x="4591" y="5430"/>
                    </a:lnTo>
                    <a:lnTo>
                      <a:pt x="4561" y="5434"/>
                    </a:lnTo>
                    <a:lnTo>
                      <a:pt x="4533" y="5430"/>
                    </a:lnTo>
                    <a:lnTo>
                      <a:pt x="4506" y="5417"/>
                    </a:lnTo>
                    <a:lnTo>
                      <a:pt x="4485" y="5396"/>
                    </a:lnTo>
                    <a:lnTo>
                      <a:pt x="4474" y="5372"/>
                    </a:lnTo>
                    <a:lnTo>
                      <a:pt x="4468" y="5341"/>
                    </a:lnTo>
                    <a:lnTo>
                      <a:pt x="4468" y="4652"/>
                    </a:lnTo>
                    <a:lnTo>
                      <a:pt x="3895" y="5095"/>
                    </a:lnTo>
                    <a:lnTo>
                      <a:pt x="3867" y="5110"/>
                    </a:lnTo>
                    <a:lnTo>
                      <a:pt x="3839" y="5116"/>
                    </a:lnTo>
                    <a:lnTo>
                      <a:pt x="3810" y="5110"/>
                    </a:lnTo>
                    <a:lnTo>
                      <a:pt x="3786" y="5099"/>
                    </a:lnTo>
                    <a:lnTo>
                      <a:pt x="3765" y="5080"/>
                    </a:lnTo>
                    <a:lnTo>
                      <a:pt x="3750" y="5054"/>
                    </a:lnTo>
                    <a:lnTo>
                      <a:pt x="3744" y="5025"/>
                    </a:lnTo>
                    <a:lnTo>
                      <a:pt x="3748" y="4997"/>
                    </a:lnTo>
                    <a:lnTo>
                      <a:pt x="3761" y="4970"/>
                    </a:lnTo>
                    <a:lnTo>
                      <a:pt x="3780" y="4948"/>
                    </a:lnTo>
                    <a:lnTo>
                      <a:pt x="4468" y="4418"/>
                    </a:lnTo>
                    <a:lnTo>
                      <a:pt x="4468" y="2745"/>
                    </a:lnTo>
                    <a:lnTo>
                      <a:pt x="3154" y="2745"/>
                    </a:lnTo>
                    <a:lnTo>
                      <a:pt x="3111" y="2739"/>
                    </a:lnTo>
                    <a:lnTo>
                      <a:pt x="3071" y="2722"/>
                    </a:lnTo>
                    <a:lnTo>
                      <a:pt x="3039" y="2697"/>
                    </a:lnTo>
                    <a:lnTo>
                      <a:pt x="3012" y="2663"/>
                    </a:lnTo>
                    <a:lnTo>
                      <a:pt x="2995" y="2625"/>
                    </a:lnTo>
                    <a:lnTo>
                      <a:pt x="2990" y="2582"/>
                    </a:lnTo>
                    <a:lnTo>
                      <a:pt x="2991" y="1085"/>
                    </a:lnTo>
                    <a:lnTo>
                      <a:pt x="2747" y="1278"/>
                    </a:lnTo>
                    <a:lnTo>
                      <a:pt x="2763" y="1318"/>
                    </a:lnTo>
                    <a:lnTo>
                      <a:pt x="2768" y="1357"/>
                    </a:lnTo>
                    <a:lnTo>
                      <a:pt x="2766" y="1399"/>
                    </a:lnTo>
                    <a:lnTo>
                      <a:pt x="2757" y="1439"/>
                    </a:lnTo>
                    <a:lnTo>
                      <a:pt x="2738" y="1477"/>
                    </a:lnTo>
                    <a:lnTo>
                      <a:pt x="2713" y="1511"/>
                    </a:lnTo>
                    <a:lnTo>
                      <a:pt x="2683" y="1541"/>
                    </a:lnTo>
                    <a:lnTo>
                      <a:pt x="2602" y="1600"/>
                    </a:lnTo>
                    <a:lnTo>
                      <a:pt x="2522" y="1656"/>
                    </a:lnTo>
                    <a:lnTo>
                      <a:pt x="2443" y="1709"/>
                    </a:lnTo>
                    <a:lnTo>
                      <a:pt x="2364" y="1759"/>
                    </a:lnTo>
                    <a:lnTo>
                      <a:pt x="2282" y="1802"/>
                    </a:lnTo>
                    <a:lnTo>
                      <a:pt x="2201" y="1838"/>
                    </a:lnTo>
                    <a:lnTo>
                      <a:pt x="2118" y="1868"/>
                    </a:lnTo>
                    <a:lnTo>
                      <a:pt x="2033" y="1891"/>
                    </a:lnTo>
                    <a:lnTo>
                      <a:pt x="1946" y="1906"/>
                    </a:lnTo>
                    <a:lnTo>
                      <a:pt x="1855" y="1910"/>
                    </a:lnTo>
                    <a:lnTo>
                      <a:pt x="1781" y="1908"/>
                    </a:lnTo>
                    <a:lnTo>
                      <a:pt x="1706" y="1897"/>
                    </a:lnTo>
                    <a:lnTo>
                      <a:pt x="1628" y="1880"/>
                    </a:lnTo>
                    <a:lnTo>
                      <a:pt x="1628" y="2909"/>
                    </a:lnTo>
                    <a:lnTo>
                      <a:pt x="1628" y="2941"/>
                    </a:lnTo>
                    <a:lnTo>
                      <a:pt x="1624" y="2979"/>
                    </a:lnTo>
                    <a:lnTo>
                      <a:pt x="1619" y="3017"/>
                    </a:lnTo>
                    <a:lnTo>
                      <a:pt x="1611" y="3053"/>
                    </a:lnTo>
                    <a:lnTo>
                      <a:pt x="1602" y="3085"/>
                    </a:lnTo>
                    <a:lnTo>
                      <a:pt x="1590" y="3110"/>
                    </a:lnTo>
                    <a:lnTo>
                      <a:pt x="1592" y="3117"/>
                    </a:lnTo>
                    <a:lnTo>
                      <a:pt x="1594" y="3136"/>
                    </a:lnTo>
                    <a:lnTo>
                      <a:pt x="1596" y="3169"/>
                    </a:lnTo>
                    <a:lnTo>
                      <a:pt x="1600" y="3210"/>
                    </a:lnTo>
                    <a:lnTo>
                      <a:pt x="1605" y="3263"/>
                    </a:lnTo>
                    <a:lnTo>
                      <a:pt x="1611" y="3324"/>
                    </a:lnTo>
                    <a:lnTo>
                      <a:pt x="1617" y="3394"/>
                    </a:lnTo>
                    <a:lnTo>
                      <a:pt x="1624" y="3470"/>
                    </a:lnTo>
                    <a:lnTo>
                      <a:pt x="1632" y="3553"/>
                    </a:lnTo>
                    <a:lnTo>
                      <a:pt x="1639" y="3642"/>
                    </a:lnTo>
                    <a:lnTo>
                      <a:pt x="1649" y="3734"/>
                    </a:lnTo>
                    <a:lnTo>
                      <a:pt x="1656" y="3831"/>
                    </a:lnTo>
                    <a:lnTo>
                      <a:pt x="1666" y="3931"/>
                    </a:lnTo>
                    <a:lnTo>
                      <a:pt x="1675" y="4032"/>
                    </a:lnTo>
                    <a:lnTo>
                      <a:pt x="1685" y="4134"/>
                    </a:lnTo>
                    <a:lnTo>
                      <a:pt x="1694" y="4236"/>
                    </a:lnTo>
                    <a:lnTo>
                      <a:pt x="1704" y="4338"/>
                    </a:lnTo>
                    <a:lnTo>
                      <a:pt x="1713" y="4437"/>
                    </a:lnTo>
                    <a:lnTo>
                      <a:pt x="1721" y="4533"/>
                    </a:lnTo>
                    <a:lnTo>
                      <a:pt x="1730" y="4626"/>
                    </a:lnTo>
                    <a:lnTo>
                      <a:pt x="1738" y="4715"/>
                    </a:lnTo>
                    <a:lnTo>
                      <a:pt x="1745" y="4798"/>
                    </a:lnTo>
                    <a:lnTo>
                      <a:pt x="1753" y="4876"/>
                    </a:lnTo>
                    <a:lnTo>
                      <a:pt x="1759" y="4944"/>
                    </a:lnTo>
                    <a:lnTo>
                      <a:pt x="1764" y="5004"/>
                    </a:lnTo>
                    <a:lnTo>
                      <a:pt x="1770" y="5057"/>
                    </a:lnTo>
                    <a:lnTo>
                      <a:pt x="1774" y="5099"/>
                    </a:lnTo>
                    <a:lnTo>
                      <a:pt x="1776" y="5131"/>
                    </a:lnTo>
                    <a:lnTo>
                      <a:pt x="1777" y="5150"/>
                    </a:lnTo>
                    <a:lnTo>
                      <a:pt x="1777" y="5156"/>
                    </a:lnTo>
                    <a:lnTo>
                      <a:pt x="1777" y="5209"/>
                    </a:lnTo>
                    <a:lnTo>
                      <a:pt x="1766" y="5258"/>
                    </a:lnTo>
                    <a:lnTo>
                      <a:pt x="1747" y="5303"/>
                    </a:lnTo>
                    <a:lnTo>
                      <a:pt x="1719" y="5343"/>
                    </a:lnTo>
                    <a:lnTo>
                      <a:pt x="1685" y="5377"/>
                    </a:lnTo>
                    <a:lnTo>
                      <a:pt x="1643" y="5406"/>
                    </a:lnTo>
                    <a:lnTo>
                      <a:pt x="1596" y="5425"/>
                    </a:lnTo>
                    <a:lnTo>
                      <a:pt x="1545" y="5434"/>
                    </a:lnTo>
                    <a:lnTo>
                      <a:pt x="1534" y="5434"/>
                    </a:lnTo>
                    <a:lnTo>
                      <a:pt x="1524" y="5434"/>
                    </a:lnTo>
                    <a:lnTo>
                      <a:pt x="1475" y="5430"/>
                    </a:lnTo>
                    <a:lnTo>
                      <a:pt x="1430" y="5417"/>
                    </a:lnTo>
                    <a:lnTo>
                      <a:pt x="1388" y="5396"/>
                    </a:lnTo>
                    <a:lnTo>
                      <a:pt x="1352" y="5368"/>
                    </a:lnTo>
                    <a:lnTo>
                      <a:pt x="1320" y="5334"/>
                    </a:lnTo>
                    <a:lnTo>
                      <a:pt x="1295" y="5294"/>
                    </a:lnTo>
                    <a:lnTo>
                      <a:pt x="1278" y="5248"/>
                    </a:lnTo>
                    <a:lnTo>
                      <a:pt x="1269" y="5201"/>
                    </a:lnTo>
                    <a:lnTo>
                      <a:pt x="1101" y="3399"/>
                    </a:lnTo>
                    <a:lnTo>
                      <a:pt x="1085" y="3399"/>
                    </a:lnTo>
                    <a:lnTo>
                      <a:pt x="1074" y="3401"/>
                    </a:lnTo>
                    <a:lnTo>
                      <a:pt x="1059" y="3401"/>
                    </a:lnTo>
                    <a:lnTo>
                      <a:pt x="1046" y="3401"/>
                    </a:lnTo>
                    <a:lnTo>
                      <a:pt x="1031" y="3399"/>
                    </a:lnTo>
                    <a:lnTo>
                      <a:pt x="1017" y="3399"/>
                    </a:lnTo>
                    <a:lnTo>
                      <a:pt x="893" y="5197"/>
                    </a:lnTo>
                    <a:lnTo>
                      <a:pt x="883" y="5247"/>
                    </a:lnTo>
                    <a:lnTo>
                      <a:pt x="866" y="5292"/>
                    </a:lnTo>
                    <a:lnTo>
                      <a:pt x="841" y="5332"/>
                    </a:lnTo>
                    <a:lnTo>
                      <a:pt x="809" y="5366"/>
                    </a:lnTo>
                    <a:lnTo>
                      <a:pt x="773" y="5394"/>
                    </a:lnTo>
                    <a:lnTo>
                      <a:pt x="732" y="5417"/>
                    </a:lnTo>
                    <a:lnTo>
                      <a:pt x="686" y="5430"/>
                    </a:lnTo>
                    <a:lnTo>
                      <a:pt x="637" y="5434"/>
                    </a:lnTo>
                    <a:lnTo>
                      <a:pt x="616" y="5434"/>
                    </a:lnTo>
                    <a:lnTo>
                      <a:pt x="565" y="5425"/>
                    </a:lnTo>
                    <a:lnTo>
                      <a:pt x="520" y="5406"/>
                    </a:lnTo>
                    <a:lnTo>
                      <a:pt x="478" y="5379"/>
                    </a:lnTo>
                    <a:lnTo>
                      <a:pt x="442" y="5345"/>
                    </a:lnTo>
                    <a:lnTo>
                      <a:pt x="414" y="5305"/>
                    </a:lnTo>
                    <a:lnTo>
                      <a:pt x="395" y="5260"/>
                    </a:lnTo>
                    <a:lnTo>
                      <a:pt x="384" y="5211"/>
                    </a:lnTo>
                    <a:lnTo>
                      <a:pt x="382" y="5160"/>
                    </a:lnTo>
                    <a:lnTo>
                      <a:pt x="539" y="3116"/>
                    </a:lnTo>
                    <a:lnTo>
                      <a:pt x="518" y="3068"/>
                    </a:lnTo>
                    <a:lnTo>
                      <a:pt x="501" y="3017"/>
                    </a:lnTo>
                    <a:lnTo>
                      <a:pt x="492" y="2964"/>
                    </a:lnTo>
                    <a:lnTo>
                      <a:pt x="488" y="2909"/>
                    </a:lnTo>
                    <a:lnTo>
                      <a:pt x="488" y="2213"/>
                    </a:lnTo>
                    <a:lnTo>
                      <a:pt x="471" y="2285"/>
                    </a:lnTo>
                    <a:lnTo>
                      <a:pt x="456" y="2362"/>
                    </a:lnTo>
                    <a:lnTo>
                      <a:pt x="444" y="2448"/>
                    </a:lnTo>
                    <a:lnTo>
                      <a:pt x="437" y="2538"/>
                    </a:lnTo>
                    <a:lnTo>
                      <a:pt x="433" y="2637"/>
                    </a:lnTo>
                    <a:lnTo>
                      <a:pt x="433" y="2743"/>
                    </a:lnTo>
                    <a:lnTo>
                      <a:pt x="437" y="2856"/>
                    </a:lnTo>
                    <a:lnTo>
                      <a:pt x="444" y="2977"/>
                    </a:lnTo>
                    <a:lnTo>
                      <a:pt x="442" y="3021"/>
                    </a:lnTo>
                    <a:lnTo>
                      <a:pt x="433" y="3063"/>
                    </a:lnTo>
                    <a:lnTo>
                      <a:pt x="416" y="3100"/>
                    </a:lnTo>
                    <a:lnTo>
                      <a:pt x="393" y="3135"/>
                    </a:lnTo>
                    <a:lnTo>
                      <a:pt x="363" y="3165"/>
                    </a:lnTo>
                    <a:lnTo>
                      <a:pt x="327" y="3188"/>
                    </a:lnTo>
                    <a:lnTo>
                      <a:pt x="287" y="3203"/>
                    </a:lnTo>
                    <a:lnTo>
                      <a:pt x="246" y="3210"/>
                    </a:lnTo>
                    <a:lnTo>
                      <a:pt x="229" y="3210"/>
                    </a:lnTo>
                    <a:lnTo>
                      <a:pt x="182" y="3206"/>
                    </a:lnTo>
                    <a:lnTo>
                      <a:pt x="138" y="3191"/>
                    </a:lnTo>
                    <a:lnTo>
                      <a:pt x="98" y="3169"/>
                    </a:lnTo>
                    <a:lnTo>
                      <a:pt x="66" y="3138"/>
                    </a:lnTo>
                    <a:lnTo>
                      <a:pt x="40" y="3100"/>
                    </a:lnTo>
                    <a:lnTo>
                      <a:pt x="21" y="3059"/>
                    </a:lnTo>
                    <a:lnTo>
                      <a:pt x="13" y="3012"/>
                    </a:lnTo>
                    <a:lnTo>
                      <a:pt x="4" y="2868"/>
                    </a:lnTo>
                    <a:lnTo>
                      <a:pt x="0" y="2731"/>
                    </a:lnTo>
                    <a:lnTo>
                      <a:pt x="2" y="2605"/>
                    </a:lnTo>
                    <a:lnTo>
                      <a:pt x="8" y="2483"/>
                    </a:lnTo>
                    <a:lnTo>
                      <a:pt x="19" y="2372"/>
                    </a:lnTo>
                    <a:lnTo>
                      <a:pt x="34" y="2266"/>
                    </a:lnTo>
                    <a:lnTo>
                      <a:pt x="53" y="2169"/>
                    </a:lnTo>
                    <a:lnTo>
                      <a:pt x="78" y="2077"/>
                    </a:lnTo>
                    <a:lnTo>
                      <a:pt x="104" y="1991"/>
                    </a:lnTo>
                    <a:lnTo>
                      <a:pt x="134" y="1912"/>
                    </a:lnTo>
                    <a:lnTo>
                      <a:pt x="168" y="1838"/>
                    </a:lnTo>
                    <a:lnTo>
                      <a:pt x="204" y="1768"/>
                    </a:lnTo>
                    <a:lnTo>
                      <a:pt x="244" y="1706"/>
                    </a:lnTo>
                    <a:lnTo>
                      <a:pt x="286" y="1645"/>
                    </a:lnTo>
                    <a:lnTo>
                      <a:pt x="331" y="1590"/>
                    </a:lnTo>
                    <a:lnTo>
                      <a:pt x="378" y="1539"/>
                    </a:lnTo>
                    <a:lnTo>
                      <a:pt x="425" y="1492"/>
                    </a:lnTo>
                    <a:lnTo>
                      <a:pt x="477" y="1448"/>
                    </a:lnTo>
                    <a:lnTo>
                      <a:pt x="528" y="1407"/>
                    </a:lnTo>
                    <a:lnTo>
                      <a:pt x="581" y="1369"/>
                    </a:lnTo>
                    <a:lnTo>
                      <a:pt x="633" y="1331"/>
                    </a:lnTo>
                    <a:lnTo>
                      <a:pt x="688" y="1297"/>
                    </a:lnTo>
                    <a:lnTo>
                      <a:pt x="696" y="1293"/>
                    </a:lnTo>
                    <a:lnTo>
                      <a:pt x="711" y="1286"/>
                    </a:lnTo>
                    <a:lnTo>
                      <a:pt x="730" y="1274"/>
                    </a:lnTo>
                    <a:lnTo>
                      <a:pt x="754" y="1263"/>
                    </a:lnTo>
                    <a:lnTo>
                      <a:pt x="783" y="1250"/>
                    </a:lnTo>
                    <a:lnTo>
                      <a:pt x="813" y="1234"/>
                    </a:lnTo>
                    <a:lnTo>
                      <a:pt x="841" y="1221"/>
                    </a:lnTo>
                    <a:lnTo>
                      <a:pt x="870" y="1210"/>
                    </a:lnTo>
                    <a:lnTo>
                      <a:pt x="896" y="1200"/>
                    </a:lnTo>
                    <a:lnTo>
                      <a:pt x="919" y="1193"/>
                    </a:lnTo>
                    <a:lnTo>
                      <a:pt x="1059" y="1333"/>
                    </a:lnTo>
                    <a:lnTo>
                      <a:pt x="1193" y="1193"/>
                    </a:lnTo>
                    <a:lnTo>
                      <a:pt x="1195" y="1193"/>
                    </a:lnTo>
                    <a:lnTo>
                      <a:pt x="1220" y="1200"/>
                    </a:lnTo>
                    <a:lnTo>
                      <a:pt x="1250" y="1212"/>
                    </a:lnTo>
                    <a:lnTo>
                      <a:pt x="1282" y="1225"/>
                    </a:lnTo>
                    <a:lnTo>
                      <a:pt x="1316" y="1240"/>
                    </a:lnTo>
                    <a:lnTo>
                      <a:pt x="1348" y="1255"/>
                    </a:lnTo>
                    <a:lnTo>
                      <a:pt x="1380" y="1270"/>
                    </a:lnTo>
                    <a:lnTo>
                      <a:pt x="1407" y="1286"/>
                    </a:lnTo>
                    <a:lnTo>
                      <a:pt x="1428" y="1297"/>
                    </a:lnTo>
                    <a:lnTo>
                      <a:pt x="1443" y="1306"/>
                    </a:lnTo>
                    <a:lnTo>
                      <a:pt x="1520" y="1354"/>
                    </a:lnTo>
                    <a:lnTo>
                      <a:pt x="1590" y="1391"/>
                    </a:lnTo>
                    <a:lnTo>
                      <a:pt x="1656" y="1422"/>
                    </a:lnTo>
                    <a:lnTo>
                      <a:pt x="1717" y="1446"/>
                    </a:lnTo>
                    <a:lnTo>
                      <a:pt x="1776" y="1462"/>
                    </a:lnTo>
                    <a:lnTo>
                      <a:pt x="1830" y="1471"/>
                    </a:lnTo>
                    <a:lnTo>
                      <a:pt x="1885" y="1473"/>
                    </a:lnTo>
                    <a:lnTo>
                      <a:pt x="1938" y="1467"/>
                    </a:lnTo>
                    <a:lnTo>
                      <a:pt x="1989" y="1456"/>
                    </a:lnTo>
                    <a:lnTo>
                      <a:pt x="2044" y="1437"/>
                    </a:lnTo>
                    <a:lnTo>
                      <a:pt x="2099" y="1412"/>
                    </a:lnTo>
                    <a:lnTo>
                      <a:pt x="2156" y="1382"/>
                    </a:lnTo>
                    <a:lnTo>
                      <a:pt x="2216" y="1344"/>
                    </a:lnTo>
                    <a:lnTo>
                      <a:pt x="2279" y="1301"/>
                    </a:lnTo>
                    <a:lnTo>
                      <a:pt x="2347" y="1251"/>
                    </a:lnTo>
                    <a:lnTo>
                      <a:pt x="2420" y="1195"/>
                    </a:lnTo>
                    <a:lnTo>
                      <a:pt x="2458" y="1172"/>
                    </a:lnTo>
                    <a:lnTo>
                      <a:pt x="2498" y="1159"/>
                    </a:lnTo>
                    <a:lnTo>
                      <a:pt x="2539" y="1151"/>
                    </a:lnTo>
                    <a:lnTo>
                      <a:pt x="2581" y="1153"/>
                    </a:lnTo>
                    <a:lnTo>
                      <a:pt x="2621" y="1162"/>
                    </a:lnTo>
                    <a:lnTo>
                      <a:pt x="2659" y="1180"/>
                    </a:lnTo>
                    <a:lnTo>
                      <a:pt x="2693" y="1204"/>
                    </a:lnTo>
                    <a:lnTo>
                      <a:pt x="2990" y="966"/>
                    </a:lnTo>
                    <a:lnTo>
                      <a:pt x="2990" y="466"/>
                    </a:lnTo>
                    <a:lnTo>
                      <a:pt x="2897" y="466"/>
                    </a:lnTo>
                    <a:lnTo>
                      <a:pt x="2897" y="163"/>
                    </a:lnTo>
                    <a:lnTo>
                      <a:pt x="4438" y="163"/>
                    </a:lnTo>
                    <a:lnTo>
                      <a:pt x="4438" y="118"/>
                    </a:lnTo>
                    <a:lnTo>
                      <a:pt x="4444" y="88"/>
                    </a:lnTo>
                    <a:lnTo>
                      <a:pt x="4455" y="59"/>
                    </a:lnTo>
                    <a:lnTo>
                      <a:pt x="4474" y="35"/>
                    </a:lnTo>
                    <a:lnTo>
                      <a:pt x="4497" y="17"/>
                    </a:lnTo>
                    <a:lnTo>
                      <a:pt x="4525" y="6"/>
                    </a:lnTo>
                    <a:lnTo>
                      <a:pt x="45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9" name="Freeform 16"/>
              <p:cNvSpPr>
                <a:spLocks/>
              </p:cNvSpPr>
              <p:nvPr/>
            </p:nvSpPr>
            <p:spPr bwMode="auto">
              <a:xfrm>
                <a:off x="1373" y="665"/>
                <a:ext cx="1270" cy="559"/>
              </a:xfrm>
              <a:custGeom>
                <a:avLst/>
                <a:gdLst>
                  <a:gd name="T0" fmla="*/ 238 w 2539"/>
                  <a:gd name="T1" fmla="*/ 17 h 1119"/>
                  <a:gd name="T2" fmla="*/ 312 w 2539"/>
                  <a:gd name="T3" fmla="*/ 93 h 1119"/>
                  <a:gd name="T4" fmla="*/ 325 w 2539"/>
                  <a:gd name="T5" fmla="*/ 199 h 1119"/>
                  <a:gd name="T6" fmla="*/ 278 w 2539"/>
                  <a:gd name="T7" fmla="*/ 284 h 1119"/>
                  <a:gd name="T8" fmla="*/ 801 w 2539"/>
                  <a:gd name="T9" fmla="*/ 718 h 1119"/>
                  <a:gd name="T10" fmla="*/ 905 w 2539"/>
                  <a:gd name="T11" fmla="*/ 708 h 1119"/>
                  <a:gd name="T12" fmla="*/ 994 w 2539"/>
                  <a:gd name="T13" fmla="*/ 765 h 1119"/>
                  <a:gd name="T14" fmla="*/ 1397 w 2539"/>
                  <a:gd name="T15" fmla="*/ 517 h 1119"/>
                  <a:gd name="T16" fmla="*/ 1456 w 2539"/>
                  <a:gd name="T17" fmla="*/ 426 h 1119"/>
                  <a:gd name="T18" fmla="*/ 1558 w 2539"/>
                  <a:gd name="T19" fmla="*/ 390 h 1119"/>
                  <a:gd name="T20" fmla="*/ 1660 w 2539"/>
                  <a:gd name="T21" fmla="*/ 426 h 1119"/>
                  <a:gd name="T22" fmla="*/ 1718 w 2539"/>
                  <a:gd name="T23" fmla="*/ 517 h 1119"/>
                  <a:gd name="T24" fmla="*/ 1701 w 2539"/>
                  <a:gd name="T25" fmla="*/ 636 h 1119"/>
                  <a:gd name="T26" fmla="*/ 1853 w 2539"/>
                  <a:gd name="T27" fmla="*/ 793 h 1119"/>
                  <a:gd name="T28" fmla="*/ 1951 w 2539"/>
                  <a:gd name="T29" fmla="*/ 799 h 1119"/>
                  <a:gd name="T30" fmla="*/ 2223 w 2539"/>
                  <a:gd name="T31" fmla="*/ 278 h 1119"/>
                  <a:gd name="T32" fmla="*/ 2214 w 2539"/>
                  <a:gd name="T33" fmla="*/ 174 h 1119"/>
                  <a:gd name="T34" fmla="*/ 2272 w 2539"/>
                  <a:gd name="T35" fmla="*/ 84 h 1119"/>
                  <a:gd name="T36" fmla="*/ 2375 w 2539"/>
                  <a:gd name="T37" fmla="*/ 48 h 1119"/>
                  <a:gd name="T38" fmla="*/ 2479 w 2539"/>
                  <a:gd name="T39" fmla="*/ 84 h 1119"/>
                  <a:gd name="T40" fmla="*/ 2535 w 2539"/>
                  <a:gd name="T41" fmla="*/ 174 h 1119"/>
                  <a:gd name="T42" fmla="*/ 2522 w 2539"/>
                  <a:gd name="T43" fmla="*/ 284 h 1119"/>
                  <a:gd name="T44" fmla="*/ 2446 w 2539"/>
                  <a:gd name="T45" fmla="*/ 360 h 1119"/>
                  <a:gd name="T46" fmla="*/ 2356 w 2539"/>
                  <a:gd name="T47" fmla="*/ 375 h 1119"/>
                  <a:gd name="T48" fmla="*/ 2042 w 2539"/>
                  <a:gd name="T49" fmla="*/ 878 h 1119"/>
                  <a:gd name="T50" fmla="*/ 2055 w 2539"/>
                  <a:gd name="T51" fmla="*/ 990 h 1119"/>
                  <a:gd name="T52" fmla="*/ 1998 w 2539"/>
                  <a:gd name="T53" fmla="*/ 1081 h 1119"/>
                  <a:gd name="T54" fmla="*/ 1894 w 2539"/>
                  <a:gd name="T55" fmla="*/ 1119 h 1119"/>
                  <a:gd name="T56" fmla="*/ 1792 w 2539"/>
                  <a:gd name="T57" fmla="*/ 1081 h 1119"/>
                  <a:gd name="T58" fmla="*/ 1734 w 2539"/>
                  <a:gd name="T59" fmla="*/ 990 h 1119"/>
                  <a:gd name="T60" fmla="*/ 1741 w 2539"/>
                  <a:gd name="T61" fmla="*/ 894 h 1119"/>
                  <a:gd name="T62" fmla="*/ 1580 w 2539"/>
                  <a:gd name="T63" fmla="*/ 718 h 1119"/>
                  <a:gd name="T64" fmla="*/ 1478 w 2539"/>
                  <a:gd name="T65" fmla="*/ 699 h 1119"/>
                  <a:gd name="T66" fmla="*/ 1030 w 2539"/>
                  <a:gd name="T67" fmla="*/ 842 h 1119"/>
                  <a:gd name="T68" fmla="*/ 1028 w 2539"/>
                  <a:gd name="T69" fmla="*/ 907 h 1119"/>
                  <a:gd name="T70" fmla="*/ 970 w 2539"/>
                  <a:gd name="T71" fmla="*/ 998 h 1119"/>
                  <a:gd name="T72" fmla="*/ 868 w 2539"/>
                  <a:gd name="T73" fmla="*/ 1034 h 1119"/>
                  <a:gd name="T74" fmla="*/ 764 w 2539"/>
                  <a:gd name="T75" fmla="*/ 998 h 1119"/>
                  <a:gd name="T76" fmla="*/ 707 w 2539"/>
                  <a:gd name="T77" fmla="*/ 907 h 1119"/>
                  <a:gd name="T78" fmla="*/ 200 w 2539"/>
                  <a:gd name="T79" fmla="*/ 326 h 1119"/>
                  <a:gd name="T80" fmla="*/ 92 w 2539"/>
                  <a:gd name="T81" fmla="*/ 314 h 1119"/>
                  <a:gd name="T82" fmla="*/ 17 w 2539"/>
                  <a:gd name="T83" fmla="*/ 239 h 1119"/>
                  <a:gd name="T84" fmla="*/ 3 w 2539"/>
                  <a:gd name="T85" fmla="*/ 129 h 1119"/>
                  <a:gd name="T86" fmla="*/ 62 w 2539"/>
                  <a:gd name="T87" fmla="*/ 38 h 1119"/>
                  <a:gd name="T88" fmla="*/ 164 w 2539"/>
                  <a:gd name="T89" fmla="*/ 0 h 1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539" h="1119">
                    <a:moveTo>
                      <a:pt x="164" y="0"/>
                    </a:moveTo>
                    <a:lnTo>
                      <a:pt x="202" y="6"/>
                    </a:lnTo>
                    <a:lnTo>
                      <a:pt x="238" y="17"/>
                    </a:lnTo>
                    <a:lnTo>
                      <a:pt x="268" y="38"/>
                    </a:lnTo>
                    <a:lnTo>
                      <a:pt x="293" y="63"/>
                    </a:lnTo>
                    <a:lnTo>
                      <a:pt x="312" y="93"/>
                    </a:lnTo>
                    <a:lnTo>
                      <a:pt x="325" y="129"/>
                    </a:lnTo>
                    <a:lnTo>
                      <a:pt x="329" y="165"/>
                    </a:lnTo>
                    <a:lnTo>
                      <a:pt x="325" y="199"/>
                    </a:lnTo>
                    <a:lnTo>
                      <a:pt x="315" y="231"/>
                    </a:lnTo>
                    <a:lnTo>
                      <a:pt x="300" y="260"/>
                    </a:lnTo>
                    <a:lnTo>
                      <a:pt x="278" y="284"/>
                    </a:lnTo>
                    <a:lnTo>
                      <a:pt x="748" y="755"/>
                    </a:lnTo>
                    <a:lnTo>
                      <a:pt x="773" y="735"/>
                    </a:lnTo>
                    <a:lnTo>
                      <a:pt x="801" y="718"/>
                    </a:lnTo>
                    <a:lnTo>
                      <a:pt x="834" y="708"/>
                    </a:lnTo>
                    <a:lnTo>
                      <a:pt x="868" y="704"/>
                    </a:lnTo>
                    <a:lnTo>
                      <a:pt x="905" y="708"/>
                    </a:lnTo>
                    <a:lnTo>
                      <a:pt x="939" y="721"/>
                    </a:lnTo>
                    <a:lnTo>
                      <a:pt x="970" y="740"/>
                    </a:lnTo>
                    <a:lnTo>
                      <a:pt x="994" y="765"/>
                    </a:lnTo>
                    <a:lnTo>
                      <a:pt x="1393" y="562"/>
                    </a:lnTo>
                    <a:lnTo>
                      <a:pt x="1393" y="555"/>
                    </a:lnTo>
                    <a:lnTo>
                      <a:pt x="1397" y="517"/>
                    </a:lnTo>
                    <a:lnTo>
                      <a:pt x="1410" y="483"/>
                    </a:lnTo>
                    <a:lnTo>
                      <a:pt x="1429" y="453"/>
                    </a:lnTo>
                    <a:lnTo>
                      <a:pt x="1456" y="426"/>
                    </a:lnTo>
                    <a:lnTo>
                      <a:pt x="1486" y="407"/>
                    </a:lnTo>
                    <a:lnTo>
                      <a:pt x="1520" y="394"/>
                    </a:lnTo>
                    <a:lnTo>
                      <a:pt x="1558" y="390"/>
                    </a:lnTo>
                    <a:lnTo>
                      <a:pt x="1596" y="394"/>
                    </a:lnTo>
                    <a:lnTo>
                      <a:pt x="1630" y="407"/>
                    </a:lnTo>
                    <a:lnTo>
                      <a:pt x="1660" y="426"/>
                    </a:lnTo>
                    <a:lnTo>
                      <a:pt x="1686" y="453"/>
                    </a:lnTo>
                    <a:lnTo>
                      <a:pt x="1705" y="483"/>
                    </a:lnTo>
                    <a:lnTo>
                      <a:pt x="1718" y="517"/>
                    </a:lnTo>
                    <a:lnTo>
                      <a:pt x="1722" y="555"/>
                    </a:lnTo>
                    <a:lnTo>
                      <a:pt x="1717" y="596"/>
                    </a:lnTo>
                    <a:lnTo>
                      <a:pt x="1701" y="636"/>
                    </a:lnTo>
                    <a:lnTo>
                      <a:pt x="1677" y="668"/>
                    </a:lnTo>
                    <a:lnTo>
                      <a:pt x="1815" y="808"/>
                    </a:lnTo>
                    <a:lnTo>
                      <a:pt x="1853" y="793"/>
                    </a:lnTo>
                    <a:lnTo>
                      <a:pt x="1894" y="788"/>
                    </a:lnTo>
                    <a:lnTo>
                      <a:pt x="1923" y="791"/>
                    </a:lnTo>
                    <a:lnTo>
                      <a:pt x="1951" y="799"/>
                    </a:lnTo>
                    <a:lnTo>
                      <a:pt x="2261" y="331"/>
                    </a:lnTo>
                    <a:lnTo>
                      <a:pt x="2240" y="307"/>
                    </a:lnTo>
                    <a:lnTo>
                      <a:pt x="2223" y="278"/>
                    </a:lnTo>
                    <a:lnTo>
                      <a:pt x="2214" y="246"/>
                    </a:lnTo>
                    <a:lnTo>
                      <a:pt x="2210" y="212"/>
                    </a:lnTo>
                    <a:lnTo>
                      <a:pt x="2214" y="174"/>
                    </a:lnTo>
                    <a:lnTo>
                      <a:pt x="2227" y="140"/>
                    </a:lnTo>
                    <a:lnTo>
                      <a:pt x="2246" y="110"/>
                    </a:lnTo>
                    <a:lnTo>
                      <a:pt x="2272" y="84"/>
                    </a:lnTo>
                    <a:lnTo>
                      <a:pt x="2303" y="65"/>
                    </a:lnTo>
                    <a:lnTo>
                      <a:pt x="2337" y="51"/>
                    </a:lnTo>
                    <a:lnTo>
                      <a:pt x="2375" y="48"/>
                    </a:lnTo>
                    <a:lnTo>
                      <a:pt x="2412" y="51"/>
                    </a:lnTo>
                    <a:lnTo>
                      <a:pt x="2446" y="65"/>
                    </a:lnTo>
                    <a:lnTo>
                      <a:pt x="2479" y="84"/>
                    </a:lnTo>
                    <a:lnTo>
                      <a:pt x="2503" y="110"/>
                    </a:lnTo>
                    <a:lnTo>
                      <a:pt x="2522" y="140"/>
                    </a:lnTo>
                    <a:lnTo>
                      <a:pt x="2535" y="174"/>
                    </a:lnTo>
                    <a:lnTo>
                      <a:pt x="2539" y="212"/>
                    </a:lnTo>
                    <a:lnTo>
                      <a:pt x="2535" y="250"/>
                    </a:lnTo>
                    <a:lnTo>
                      <a:pt x="2522" y="284"/>
                    </a:lnTo>
                    <a:lnTo>
                      <a:pt x="2503" y="314"/>
                    </a:lnTo>
                    <a:lnTo>
                      <a:pt x="2479" y="341"/>
                    </a:lnTo>
                    <a:lnTo>
                      <a:pt x="2446" y="360"/>
                    </a:lnTo>
                    <a:lnTo>
                      <a:pt x="2412" y="373"/>
                    </a:lnTo>
                    <a:lnTo>
                      <a:pt x="2375" y="377"/>
                    </a:lnTo>
                    <a:lnTo>
                      <a:pt x="2356" y="375"/>
                    </a:lnTo>
                    <a:lnTo>
                      <a:pt x="2337" y="373"/>
                    </a:lnTo>
                    <a:lnTo>
                      <a:pt x="2021" y="848"/>
                    </a:lnTo>
                    <a:lnTo>
                      <a:pt x="2042" y="878"/>
                    </a:lnTo>
                    <a:lnTo>
                      <a:pt x="2055" y="914"/>
                    </a:lnTo>
                    <a:lnTo>
                      <a:pt x="2059" y="952"/>
                    </a:lnTo>
                    <a:lnTo>
                      <a:pt x="2055" y="990"/>
                    </a:lnTo>
                    <a:lnTo>
                      <a:pt x="2042" y="1026"/>
                    </a:lnTo>
                    <a:lnTo>
                      <a:pt x="2023" y="1056"/>
                    </a:lnTo>
                    <a:lnTo>
                      <a:pt x="1998" y="1081"/>
                    </a:lnTo>
                    <a:lnTo>
                      <a:pt x="1968" y="1102"/>
                    </a:lnTo>
                    <a:lnTo>
                      <a:pt x="1932" y="1113"/>
                    </a:lnTo>
                    <a:lnTo>
                      <a:pt x="1894" y="1119"/>
                    </a:lnTo>
                    <a:lnTo>
                      <a:pt x="1856" y="1113"/>
                    </a:lnTo>
                    <a:lnTo>
                      <a:pt x="1822" y="1102"/>
                    </a:lnTo>
                    <a:lnTo>
                      <a:pt x="1792" y="1081"/>
                    </a:lnTo>
                    <a:lnTo>
                      <a:pt x="1766" y="1056"/>
                    </a:lnTo>
                    <a:lnTo>
                      <a:pt x="1747" y="1026"/>
                    </a:lnTo>
                    <a:lnTo>
                      <a:pt x="1734" y="990"/>
                    </a:lnTo>
                    <a:lnTo>
                      <a:pt x="1730" y="952"/>
                    </a:lnTo>
                    <a:lnTo>
                      <a:pt x="1734" y="922"/>
                    </a:lnTo>
                    <a:lnTo>
                      <a:pt x="1741" y="894"/>
                    </a:lnTo>
                    <a:lnTo>
                      <a:pt x="1754" y="867"/>
                    </a:lnTo>
                    <a:lnTo>
                      <a:pt x="1601" y="714"/>
                    </a:lnTo>
                    <a:lnTo>
                      <a:pt x="1580" y="718"/>
                    </a:lnTo>
                    <a:lnTo>
                      <a:pt x="1558" y="719"/>
                    </a:lnTo>
                    <a:lnTo>
                      <a:pt x="1516" y="714"/>
                    </a:lnTo>
                    <a:lnTo>
                      <a:pt x="1478" y="699"/>
                    </a:lnTo>
                    <a:lnTo>
                      <a:pt x="1446" y="676"/>
                    </a:lnTo>
                    <a:lnTo>
                      <a:pt x="1420" y="644"/>
                    </a:lnTo>
                    <a:lnTo>
                      <a:pt x="1030" y="842"/>
                    </a:lnTo>
                    <a:lnTo>
                      <a:pt x="1032" y="856"/>
                    </a:lnTo>
                    <a:lnTo>
                      <a:pt x="1032" y="869"/>
                    </a:lnTo>
                    <a:lnTo>
                      <a:pt x="1028" y="907"/>
                    </a:lnTo>
                    <a:lnTo>
                      <a:pt x="1015" y="941"/>
                    </a:lnTo>
                    <a:lnTo>
                      <a:pt x="996" y="973"/>
                    </a:lnTo>
                    <a:lnTo>
                      <a:pt x="970" y="998"/>
                    </a:lnTo>
                    <a:lnTo>
                      <a:pt x="939" y="1017"/>
                    </a:lnTo>
                    <a:lnTo>
                      <a:pt x="905" y="1030"/>
                    </a:lnTo>
                    <a:lnTo>
                      <a:pt x="868" y="1034"/>
                    </a:lnTo>
                    <a:lnTo>
                      <a:pt x="830" y="1030"/>
                    </a:lnTo>
                    <a:lnTo>
                      <a:pt x="796" y="1017"/>
                    </a:lnTo>
                    <a:lnTo>
                      <a:pt x="764" y="998"/>
                    </a:lnTo>
                    <a:lnTo>
                      <a:pt x="739" y="973"/>
                    </a:lnTo>
                    <a:lnTo>
                      <a:pt x="720" y="941"/>
                    </a:lnTo>
                    <a:lnTo>
                      <a:pt x="707" y="907"/>
                    </a:lnTo>
                    <a:lnTo>
                      <a:pt x="703" y="869"/>
                    </a:lnTo>
                    <a:lnTo>
                      <a:pt x="707" y="835"/>
                    </a:lnTo>
                    <a:lnTo>
                      <a:pt x="200" y="326"/>
                    </a:lnTo>
                    <a:lnTo>
                      <a:pt x="164" y="330"/>
                    </a:lnTo>
                    <a:lnTo>
                      <a:pt x="126" y="326"/>
                    </a:lnTo>
                    <a:lnTo>
                      <a:pt x="92" y="314"/>
                    </a:lnTo>
                    <a:lnTo>
                      <a:pt x="62" y="294"/>
                    </a:lnTo>
                    <a:lnTo>
                      <a:pt x="36" y="269"/>
                    </a:lnTo>
                    <a:lnTo>
                      <a:pt x="17" y="239"/>
                    </a:lnTo>
                    <a:lnTo>
                      <a:pt x="3" y="203"/>
                    </a:lnTo>
                    <a:lnTo>
                      <a:pt x="0" y="167"/>
                    </a:lnTo>
                    <a:lnTo>
                      <a:pt x="3" y="129"/>
                    </a:lnTo>
                    <a:lnTo>
                      <a:pt x="17" y="93"/>
                    </a:lnTo>
                    <a:lnTo>
                      <a:pt x="36" y="63"/>
                    </a:lnTo>
                    <a:lnTo>
                      <a:pt x="62" y="38"/>
                    </a:lnTo>
                    <a:lnTo>
                      <a:pt x="92" y="17"/>
                    </a:lnTo>
                    <a:lnTo>
                      <a:pt x="126" y="6"/>
                    </a:lnTo>
                    <a:lnTo>
                      <a:pt x="16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0" name="Freeform 17"/>
              <p:cNvSpPr>
                <a:spLocks/>
              </p:cNvSpPr>
              <p:nvPr/>
            </p:nvSpPr>
            <p:spPr bwMode="auto">
              <a:xfrm>
                <a:off x="-17" y="245"/>
                <a:ext cx="557" cy="558"/>
              </a:xfrm>
              <a:custGeom>
                <a:avLst/>
                <a:gdLst>
                  <a:gd name="T0" fmla="*/ 558 w 1116"/>
                  <a:gd name="T1" fmla="*/ 0 h 1115"/>
                  <a:gd name="T2" fmla="*/ 634 w 1116"/>
                  <a:gd name="T3" fmla="*/ 6 h 1115"/>
                  <a:gd name="T4" fmla="*/ 705 w 1116"/>
                  <a:gd name="T5" fmla="*/ 21 h 1115"/>
                  <a:gd name="T6" fmla="*/ 775 w 1116"/>
                  <a:gd name="T7" fmla="*/ 43 h 1115"/>
                  <a:gd name="T8" fmla="*/ 840 w 1116"/>
                  <a:gd name="T9" fmla="*/ 76 h 1115"/>
                  <a:gd name="T10" fmla="*/ 898 w 1116"/>
                  <a:gd name="T11" fmla="*/ 117 h 1115"/>
                  <a:gd name="T12" fmla="*/ 951 w 1116"/>
                  <a:gd name="T13" fmla="*/ 163 h 1115"/>
                  <a:gd name="T14" fmla="*/ 998 w 1116"/>
                  <a:gd name="T15" fmla="*/ 218 h 1115"/>
                  <a:gd name="T16" fmla="*/ 1038 w 1116"/>
                  <a:gd name="T17" fmla="*/ 276 h 1115"/>
                  <a:gd name="T18" fmla="*/ 1072 w 1116"/>
                  <a:gd name="T19" fmla="*/ 341 h 1115"/>
                  <a:gd name="T20" fmla="*/ 1095 w 1116"/>
                  <a:gd name="T21" fmla="*/ 409 h 1115"/>
                  <a:gd name="T22" fmla="*/ 1110 w 1116"/>
                  <a:gd name="T23" fmla="*/ 482 h 1115"/>
                  <a:gd name="T24" fmla="*/ 1116 w 1116"/>
                  <a:gd name="T25" fmla="*/ 558 h 1115"/>
                  <a:gd name="T26" fmla="*/ 1110 w 1116"/>
                  <a:gd name="T27" fmla="*/ 634 h 1115"/>
                  <a:gd name="T28" fmla="*/ 1095 w 1116"/>
                  <a:gd name="T29" fmla="*/ 706 h 1115"/>
                  <a:gd name="T30" fmla="*/ 1072 w 1116"/>
                  <a:gd name="T31" fmla="*/ 774 h 1115"/>
                  <a:gd name="T32" fmla="*/ 1038 w 1116"/>
                  <a:gd name="T33" fmla="*/ 838 h 1115"/>
                  <a:gd name="T34" fmla="*/ 998 w 1116"/>
                  <a:gd name="T35" fmla="*/ 899 h 1115"/>
                  <a:gd name="T36" fmla="*/ 951 w 1116"/>
                  <a:gd name="T37" fmla="*/ 952 h 1115"/>
                  <a:gd name="T38" fmla="*/ 898 w 1116"/>
                  <a:gd name="T39" fmla="*/ 999 h 1115"/>
                  <a:gd name="T40" fmla="*/ 840 w 1116"/>
                  <a:gd name="T41" fmla="*/ 1039 h 1115"/>
                  <a:gd name="T42" fmla="*/ 775 w 1116"/>
                  <a:gd name="T43" fmla="*/ 1071 h 1115"/>
                  <a:gd name="T44" fmla="*/ 705 w 1116"/>
                  <a:gd name="T45" fmla="*/ 1096 h 1115"/>
                  <a:gd name="T46" fmla="*/ 634 w 1116"/>
                  <a:gd name="T47" fmla="*/ 1111 h 1115"/>
                  <a:gd name="T48" fmla="*/ 558 w 1116"/>
                  <a:gd name="T49" fmla="*/ 1115 h 1115"/>
                  <a:gd name="T50" fmla="*/ 482 w 1116"/>
                  <a:gd name="T51" fmla="*/ 1111 h 1115"/>
                  <a:gd name="T52" fmla="*/ 410 w 1116"/>
                  <a:gd name="T53" fmla="*/ 1096 h 1115"/>
                  <a:gd name="T54" fmla="*/ 340 w 1116"/>
                  <a:gd name="T55" fmla="*/ 1071 h 1115"/>
                  <a:gd name="T56" fmla="*/ 276 w 1116"/>
                  <a:gd name="T57" fmla="*/ 1039 h 1115"/>
                  <a:gd name="T58" fmla="*/ 218 w 1116"/>
                  <a:gd name="T59" fmla="*/ 999 h 1115"/>
                  <a:gd name="T60" fmla="*/ 165 w 1116"/>
                  <a:gd name="T61" fmla="*/ 952 h 1115"/>
                  <a:gd name="T62" fmla="*/ 117 w 1116"/>
                  <a:gd name="T63" fmla="*/ 899 h 1115"/>
                  <a:gd name="T64" fmla="*/ 78 w 1116"/>
                  <a:gd name="T65" fmla="*/ 838 h 1115"/>
                  <a:gd name="T66" fmla="*/ 45 w 1116"/>
                  <a:gd name="T67" fmla="*/ 774 h 1115"/>
                  <a:gd name="T68" fmla="*/ 21 w 1116"/>
                  <a:gd name="T69" fmla="*/ 706 h 1115"/>
                  <a:gd name="T70" fmla="*/ 6 w 1116"/>
                  <a:gd name="T71" fmla="*/ 634 h 1115"/>
                  <a:gd name="T72" fmla="*/ 0 w 1116"/>
                  <a:gd name="T73" fmla="*/ 558 h 1115"/>
                  <a:gd name="T74" fmla="*/ 6 w 1116"/>
                  <a:gd name="T75" fmla="*/ 482 h 1115"/>
                  <a:gd name="T76" fmla="*/ 21 w 1116"/>
                  <a:gd name="T77" fmla="*/ 409 h 1115"/>
                  <a:gd name="T78" fmla="*/ 45 w 1116"/>
                  <a:gd name="T79" fmla="*/ 341 h 1115"/>
                  <a:gd name="T80" fmla="*/ 78 w 1116"/>
                  <a:gd name="T81" fmla="*/ 276 h 1115"/>
                  <a:gd name="T82" fmla="*/ 117 w 1116"/>
                  <a:gd name="T83" fmla="*/ 218 h 1115"/>
                  <a:gd name="T84" fmla="*/ 165 w 1116"/>
                  <a:gd name="T85" fmla="*/ 163 h 1115"/>
                  <a:gd name="T86" fmla="*/ 218 w 1116"/>
                  <a:gd name="T87" fmla="*/ 117 h 1115"/>
                  <a:gd name="T88" fmla="*/ 276 w 1116"/>
                  <a:gd name="T89" fmla="*/ 76 h 1115"/>
                  <a:gd name="T90" fmla="*/ 340 w 1116"/>
                  <a:gd name="T91" fmla="*/ 43 h 1115"/>
                  <a:gd name="T92" fmla="*/ 410 w 1116"/>
                  <a:gd name="T93" fmla="*/ 21 h 1115"/>
                  <a:gd name="T94" fmla="*/ 482 w 1116"/>
                  <a:gd name="T95" fmla="*/ 6 h 1115"/>
                  <a:gd name="T96" fmla="*/ 558 w 1116"/>
                  <a:gd name="T97" fmla="*/ 0 h 1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16" h="1115">
                    <a:moveTo>
                      <a:pt x="558" y="0"/>
                    </a:moveTo>
                    <a:lnTo>
                      <a:pt x="634" y="6"/>
                    </a:lnTo>
                    <a:lnTo>
                      <a:pt x="705" y="21"/>
                    </a:lnTo>
                    <a:lnTo>
                      <a:pt x="775" y="43"/>
                    </a:lnTo>
                    <a:lnTo>
                      <a:pt x="840" y="76"/>
                    </a:lnTo>
                    <a:lnTo>
                      <a:pt x="898" y="117"/>
                    </a:lnTo>
                    <a:lnTo>
                      <a:pt x="951" y="163"/>
                    </a:lnTo>
                    <a:lnTo>
                      <a:pt x="998" y="218"/>
                    </a:lnTo>
                    <a:lnTo>
                      <a:pt x="1038" y="276"/>
                    </a:lnTo>
                    <a:lnTo>
                      <a:pt x="1072" y="341"/>
                    </a:lnTo>
                    <a:lnTo>
                      <a:pt x="1095" y="409"/>
                    </a:lnTo>
                    <a:lnTo>
                      <a:pt x="1110" y="482"/>
                    </a:lnTo>
                    <a:lnTo>
                      <a:pt x="1116" y="558"/>
                    </a:lnTo>
                    <a:lnTo>
                      <a:pt x="1110" y="634"/>
                    </a:lnTo>
                    <a:lnTo>
                      <a:pt x="1095" y="706"/>
                    </a:lnTo>
                    <a:lnTo>
                      <a:pt x="1072" y="774"/>
                    </a:lnTo>
                    <a:lnTo>
                      <a:pt x="1038" y="838"/>
                    </a:lnTo>
                    <a:lnTo>
                      <a:pt x="998" y="899"/>
                    </a:lnTo>
                    <a:lnTo>
                      <a:pt x="951" y="952"/>
                    </a:lnTo>
                    <a:lnTo>
                      <a:pt x="898" y="999"/>
                    </a:lnTo>
                    <a:lnTo>
                      <a:pt x="840" y="1039"/>
                    </a:lnTo>
                    <a:lnTo>
                      <a:pt x="775" y="1071"/>
                    </a:lnTo>
                    <a:lnTo>
                      <a:pt x="705" y="1096"/>
                    </a:lnTo>
                    <a:lnTo>
                      <a:pt x="634" y="1111"/>
                    </a:lnTo>
                    <a:lnTo>
                      <a:pt x="558" y="1115"/>
                    </a:lnTo>
                    <a:lnTo>
                      <a:pt x="482" y="1111"/>
                    </a:lnTo>
                    <a:lnTo>
                      <a:pt x="410" y="1096"/>
                    </a:lnTo>
                    <a:lnTo>
                      <a:pt x="340" y="1071"/>
                    </a:lnTo>
                    <a:lnTo>
                      <a:pt x="276" y="1039"/>
                    </a:lnTo>
                    <a:lnTo>
                      <a:pt x="218" y="999"/>
                    </a:lnTo>
                    <a:lnTo>
                      <a:pt x="165" y="952"/>
                    </a:lnTo>
                    <a:lnTo>
                      <a:pt x="117" y="899"/>
                    </a:lnTo>
                    <a:lnTo>
                      <a:pt x="78" y="838"/>
                    </a:lnTo>
                    <a:lnTo>
                      <a:pt x="45" y="774"/>
                    </a:lnTo>
                    <a:lnTo>
                      <a:pt x="21" y="706"/>
                    </a:lnTo>
                    <a:lnTo>
                      <a:pt x="6" y="634"/>
                    </a:lnTo>
                    <a:lnTo>
                      <a:pt x="0" y="558"/>
                    </a:lnTo>
                    <a:lnTo>
                      <a:pt x="6" y="482"/>
                    </a:lnTo>
                    <a:lnTo>
                      <a:pt x="21" y="409"/>
                    </a:lnTo>
                    <a:lnTo>
                      <a:pt x="45" y="341"/>
                    </a:lnTo>
                    <a:lnTo>
                      <a:pt x="78" y="276"/>
                    </a:lnTo>
                    <a:lnTo>
                      <a:pt x="117" y="218"/>
                    </a:lnTo>
                    <a:lnTo>
                      <a:pt x="165" y="163"/>
                    </a:lnTo>
                    <a:lnTo>
                      <a:pt x="218" y="117"/>
                    </a:lnTo>
                    <a:lnTo>
                      <a:pt x="276" y="76"/>
                    </a:lnTo>
                    <a:lnTo>
                      <a:pt x="340" y="43"/>
                    </a:lnTo>
                    <a:lnTo>
                      <a:pt x="410" y="21"/>
                    </a:lnTo>
                    <a:lnTo>
                      <a:pt x="482" y="6"/>
                    </a:lnTo>
                    <a:lnTo>
                      <a:pt x="55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71" name="Rectangle 59"/>
          <p:cNvSpPr/>
          <p:nvPr/>
        </p:nvSpPr>
        <p:spPr>
          <a:xfrm>
            <a:off x="35752" y="1258601"/>
            <a:ext cx="3328501" cy="13355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tr-TR" sz="1650" b="1" dirty="0" smtClean="0">
                <a:solidFill>
                  <a:srgbClr val="E7EBE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karya Üniversitesi </a:t>
            </a:r>
          </a:p>
          <a:p>
            <a:pPr algn="ctr" defTabSz="685800"/>
            <a:r>
              <a:rPr lang="tr-TR" sz="1650" b="1" dirty="0" smtClean="0">
                <a:solidFill>
                  <a:srgbClr val="E7EBE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</a:p>
          <a:p>
            <a:pPr algn="ctr" defTabSz="685800"/>
            <a:r>
              <a:rPr lang="tr-TR" sz="1650" b="1" dirty="0" smtClean="0">
                <a:solidFill>
                  <a:srgbClr val="E7EBE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karya Uygulamalı Bilimler Üniversitesi</a:t>
            </a:r>
          </a:p>
        </p:txBody>
      </p:sp>
      <p:sp>
        <p:nvSpPr>
          <p:cNvPr id="72" name="Rectangle 60"/>
          <p:cNvSpPr/>
          <p:nvPr/>
        </p:nvSpPr>
        <p:spPr>
          <a:xfrm>
            <a:off x="5004048" y="1387531"/>
            <a:ext cx="2172248" cy="6429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/>
            <a:r>
              <a:rPr lang="tr-TR" sz="1650" b="1" dirty="0" smtClean="0">
                <a:solidFill>
                  <a:srgbClr val="E7EBE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caeli Üniversitesi</a:t>
            </a:r>
            <a:endParaRPr lang="en-US" sz="1650" b="1" dirty="0">
              <a:solidFill>
                <a:srgbClr val="E7EBE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3" name="Group 52"/>
          <p:cNvGrpSpPr/>
          <p:nvPr/>
        </p:nvGrpSpPr>
        <p:grpSpPr>
          <a:xfrm>
            <a:off x="3328938" y="2234387"/>
            <a:ext cx="623058" cy="618693"/>
            <a:chOff x="4111748" y="1439198"/>
            <a:chExt cx="1104405" cy="1128156"/>
          </a:xfrm>
        </p:grpSpPr>
        <p:sp>
          <p:nvSpPr>
            <p:cNvPr id="74" name="Oval 73"/>
            <p:cNvSpPr/>
            <p:nvPr/>
          </p:nvSpPr>
          <p:spPr>
            <a:xfrm>
              <a:off x="4111748" y="1439198"/>
              <a:ext cx="1104405" cy="112815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srgbClr val="E7EBEE"/>
                </a:solidFill>
                <a:latin typeface="Calibri" panose="020F0502020204030204"/>
              </a:endParaRPr>
            </a:p>
          </p:txBody>
        </p:sp>
        <p:grpSp>
          <p:nvGrpSpPr>
            <p:cNvPr id="75" name="Group 28"/>
            <p:cNvGrpSpPr>
              <a:grpSpLocks noChangeAspect="1"/>
            </p:cNvGrpSpPr>
            <p:nvPr/>
          </p:nvGrpSpPr>
          <p:grpSpPr bwMode="auto">
            <a:xfrm>
              <a:off x="4439692" y="1688085"/>
              <a:ext cx="486790" cy="630381"/>
              <a:chOff x="-319" y="326"/>
              <a:chExt cx="617" cy="799"/>
            </a:xfrm>
            <a:solidFill>
              <a:schemeClr val="accent1"/>
            </a:solidFill>
          </p:grpSpPr>
          <p:sp>
            <p:nvSpPr>
              <p:cNvPr id="76" name="Freeform 30"/>
              <p:cNvSpPr>
                <a:spLocks noEditPoints="1"/>
              </p:cNvSpPr>
              <p:nvPr/>
            </p:nvSpPr>
            <p:spPr bwMode="auto">
              <a:xfrm>
                <a:off x="-55" y="638"/>
                <a:ext cx="353" cy="483"/>
              </a:xfrm>
              <a:custGeom>
                <a:avLst/>
                <a:gdLst>
                  <a:gd name="T0" fmla="*/ 140 w 1762"/>
                  <a:gd name="T1" fmla="*/ 1836 h 2416"/>
                  <a:gd name="T2" fmla="*/ 140 w 1762"/>
                  <a:gd name="T3" fmla="*/ 2276 h 2416"/>
                  <a:gd name="T4" fmla="*/ 1622 w 1762"/>
                  <a:gd name="T5" fmla="*/ 2276 h 2416"/>
                  <a:gd name="T6" fmla="*/ 1622 w 1762"/>
                  <a:gd name="T7" fmla="*/ 1836 h 2416"/>
                  <a:gd name="T8" fmla="*/ 140 w 1762"/>
                  <a:gd name="T9" fmla="*/ 1836 h 2416"/>
                  <a:gd name="T10" fmla="*/ 457 w 1762"/>
                  <a:gd name="T11" fmla="*/ 140 h 2416"/>
                  <a:gd name="T12" fmla="*/ 456 w 1762"/>
                  <a:gd name="T13" fmla="*/ 425 h 2416"/>
                  <a:gd name="T14" fmla="*/ 140 w 1762"/>
                  <a:gd name="T15" fmla="*/ 424 h 2416"/>
                  <a:gd name="T16" fmla="*/ 140 w 1762"/>
                  <a:gd name="T17" fmla="*/ 1789 h 2416"/>
                  <a:gd name="T18" fmla="*/ 1622 w 1762"/>
                  <a:gd name="T19" fmla="*/ 1789 h 2416"/>
                  <a:gd name="T20" fmla="*/ 1622 w 1762"/>
                  <a:gd name="T21" fmla="*/ 140 h 2416"/>
                  <a:gd name="T22" fmla="*/ 457 w 1762"/>
                  <a:gd name="T23" fmla="*/ 140 h 2416"/>
                  <a:gd name="T24" fmla="*/ 318 w 1762"/>
                  <a:gd name="T25" fmla="*/ 0 h 2416"/>
                  <a:gd name="T26" fmla="*/ 318 w 1762"/>
                  <a:gd name="T27" fmla="*/ 1 h 2416"/>
                  <a:gd name="T28" fmla="*/ 1762 w 1762"/>
                  <a:gd name="T29" fmla="*/ 1 h 2416"/>
                  <a:gd name="T30" fmla="*/ 1762 w 1762"/>
                  <a:gd name="T31" fmla="*/ 2416 h 2416"/>
                  <a:gd name="T32" fmla="*/ 0 w 1762"/>
                  <a:gd name="T33" fmla="*/ 2416 h 2416"/>
                  <a:gd name="T34" fmla="*/ 0 w 1762"/>
                  <a:gd name="T35" fmla="*/ 283 h 2416"/>
                  <a:gd name="T36" fmla="*/ 0 w 1762"/>
                  <a:gd name="T37" fmla="*/ 283 h 2416"/>
                  <a:gd name="T38" fmla="*/ 317 w 1762"/>
                  <a:gd name="T39" fmla="*/ 1 h 2416"/>
                  <a:gd name="T40" fmla="*/ 317 w 1762"/>
                  <a:gd name="T41" fmla="*/ 1 h 2416"/>
                  <a:gd name="T42" fmla="*/ 318 w 1762"/>
                  <a:gd name="T43" fmla="*/ 1 h 2416"/>
                  <a:gd name="T44" fmla="*/ 318 w 1762"/>
                  <a:gd name="T45" fmla="*/ 0 h 2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762" h="2416">
                    <a:moveTo>
                      <a:pt x="140" y="1836"/>
                    </a:moveTo>
                    <a:lnTo>
                      <a:pt x="140" y="2276"/>
                    </a:lnTo>
                    <a:lnTo>
                      <a:pt x="1622" y="2276"/>
                    </a:lnTo>
                    <a:lnTo>
                      <a:pt x="1622" y="1836"/>
                    </a:lnTo>
                    <a:lnTo>
                      <a:pt x="140" y="1836"/>
                    </a:lnTo>
                    <a:close/>
                    <a:moveTo>
                      <a:pt x="457" y="140"/>
                    </a:moveTo>
                    <a:lnTo>
                      <a:pt x="456" y="425"/>
                    </a:lnTo>
                    <a:lnTo>
                      <a:pt x="140" y="424"/>
                    </a:lnTo>
                    <a:lnTo>
                      <a:pt x="140" y="1789"/>
                    </a:lnTo>
                    <a:lnTo>
                      <a:pt x="1622" y="1789"/>
                    </a:lnTo>
                    <a:lnTo>
                      <a:pt x="1622" y="140"/>
                    </a:lnTo>
                    <a:lnTo>
                      <a:pt x="457" y="140"/>
                    </a:lnTo>
                    <a:close/>
                    <a:moveTo>
                      <a:pt x="318" y="0"/>
                    </a:moveTo>
                    <a:lnTo>
                      <a:pt x="318" y="1"/>
                    </a:lnTo>
                    <a:lnTo>
                      <a:pt x="1762" y="1"/>
                    </a:lnTo>
                    <a:lnTo>
                      <a:pt x="1762" y="2416"/>
                    </a:lnTo>
                    <a:lnTo>
                      <a:pt x="0" y="2416"/>
                    </a:lnTo>
                    <a:lnTo>
                      <a:pt x="0" y="283"/>
                    </a:lnTo>
                    <a:lnTo>
                      <a:pt x="0" y="283"/>
                    </a:lnTo>
                    <a:lnTo>
                      <a:pt x="317" y="1"/>
                    </a:lnTo>
                    <a:lnTo>
                      <a:pt x="317" y="1"/>
                    </a:lnTo>
                    <a:lnTo>
                      <a:pt x="318" y="1"/>
                    </a:lnTo>
                    <a:lnTo>
                      <a:pt x="31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/>
            </p:nvSpPr>
            <p:spPr bwMode="auto">
              <a:xfrm>
                <a:off x="-5" y="812"/>
                <a:ext cx="160" cy="160"/>
              </a:xfrm>
              <a:custGeom>
                <a:avLst/>
                <a:gdLst>
                  <a:gd name="T0" fmla="*/ 489 w 801"/>
                  <a:gd name="T1" fmla="*/ 81 h 801"/>
                  <a:gd name="T2" fmla="*/ 429 w 801"/>
                  <a:gd name="T3" fmla="*/ 109 h 801"/>
                  <a:gd name="T4" fmla="*/ 381 w 801"/>
                  <a:gd name="T5" fmla="*/ 157 h 801"/>
                  <a:gd name="T6" fmla="*/ 354 w 801"/>
                  <a:gd name="T7" fmla="*/ 216 h 801"/>
                  <a:gd name="T8" fmla="*/ 349 w 801"/>
                  <a:gd name="T9" fmla="*/ 280 h 801"/>
                  <a:gd name="T10" fmla="*/ 365 w 801"/>
                  <a:gd name="T11" fmla="*/ 342 h 801"/>
                  <a:gd name="T12" fmla="*/ 403 w 801"/>
                  <a:gd name="T13" fmla="*/ 398 h 801"/>
                  <a:gd name="T14" fmla="*/ 458 w 801"/>
                  <a:gd name="T15" fmla="*/ 436 h 801"/>
                  <a:gd name="T16" fmla="*/ 521 w 801"/>
                  <a:gd name="T17" fmla="*/ 453 h 801"/>
                  <a:gd name="T18" fmla="*/ 585 w 801"/>
                  <a:gd name="T19" fmla="*/ 447 h 801"/>
                  <a:gd name="T20" fmla="*/ 644 w 801"/>
                  <a:gd name="T21" fmla="*/ 420 h 801"/>
                  <a:gd name="T22" fmla="*/ 692 w 801"/>
                  <a:gd name="T23" fmla="*/ 372 h 801"/>
                  <a:gd name="T24" fmla="*/ 720 w 801"/>
                  <a:gd name="T25" fmla="*/ 312 h 801"/>
                  <a:gd name="T26" fmla="*/ 725 w 801"/>
                  <a:gd name="T27" fmla="*/ 248 h 801"/>
                  <a:gd name="T28" fmla="*/ 709 w 801"/>
                  <a:gd name="T29" fmla="*/ 185 h 801"/>
                  <a:gd name="T30" fmla="*/ 671 w 801"/>
                  <a:gd name="T31" fmla="*/ 130 h 801"/>
                  <a:gd name="T32" fmla="*/ 616 w 801"/>
                  <a:gd name="T33" fmla="*/ 92 h 801"/>
                  <a:gd name="T34" fmla="*/ 553 w 801"/>
                  <a:gd name="T35" fmla="*/ 76 h 801"/>
                  <a:gd name="T36" fmla="*/ 519 w 801"/>
                  <a:gd name="T37" fmla="*/ 0 h 801"/>
                  <a:gd name="T38" fmla="*/ 592 w 801"/>
                  <a:gd name="T39" fmla="*/ 6 h 801"/>
                  <a:gd name="T40" fmla="*/ 662 w 801"/>
                  <a:gd name="T41" fmla="*/ 31 h 801"/>
                  <a:gd name="T42" fmla="*/ 724 w 801"/>
                  <a:gd name="T43" fmla="*/ 77 h 801"/>
                  <a:gd name="T44" fmla="*/ 771 w 801"/>
                  <a:gd name="T45" fmla="*/ 139 h 801"/>
                  <a:gd name="T46" fmla="*/ 795 w 801"/>
                  <a:gd name="T47" fmla="*/ 209 h 801"/>
                  <a:gd name="T48" fmla="*/ 801 w 801"/>
                  <a:gd name="T49" fmla="*/ 282 h 801"/>
                  <a:gd name="T50" fmla="*/ 785 w 801"/>
                  <a:gd name="T51" fmla="*/ 355 h 801"/>
                  <a:gd name="T52" fmla="*/ 750 w 801"/>
                  <a:gd name="T53" fmla="*/ 421 h 801"/>
                  <a:gd name="T54" fmla="*/ 694 w 801"/>
                  <a:gd name="T55" fmla="*/ 476 h 801"/>
                  <a:gd name="T56" fmla="*/ 628 w 801"/>
                  <a:gd name="T57" fmla="*/ 513 h 801"/>
                  <a:gd name="T58" fmla="*/ 554 w 801"/>
                  <a:gd name="T59" fmla="*/ 528 h 801"/>
                  <a:gd name="T60" fmla="*/ 481 w 801"/>
                  <a:gd name="T61" fmla="*/ 523 h 801"/>
                  <a:gd name="T62" fmla="*/ 411 w 801"/>
                  <a:gd name="T63" fmla="*/ 497 h 801"/>
                  <a:gd name="T64" fmla="*/ 333 w 801"/>
                  <a:gd name="T65" fmla="*/ 522 h 801"/>
                  <a:gd name="T66" fmla="*/ 331 w 801"/>
                  <a:gd name="T67" fmla="*/ 555 h 801"/>
                  <a:gd name="T68" fmla="*/ 313 w 801"/>
                  <a:gd name="T69" fmla="*/ 584 h 801"/>
                  <a:gd name="T70" fmla="*/ 102 w 801"/>
                  <a:gd name="T71" fmla="*/ 792 h 801"/>
                  <a:gd name="T72" fmla="*/ 68 w 801"/>
                  <a:gd name="T73" fmla="*/ 801 h 801"/>
                  <a:gd name="T74" fmla="*/ 35 w 801"/>
                  <a:gd name="T75" fmla="*/ 792 h 801"/>
                  <a:gd name="T76" fmla="*/ 9 w 801"/>
                  <a:gd name="T77" fmla="*/ 766 h 801"/>
                  <a:gd name="T78" fmla="*/ 0 w 801"/>
                  <a:gd name="T79" fmla="*/ 733 h 801"/>
                  <a:gd name="T80" fmla="*/ 9 w 801"/>
                  <a:gd name="T81" fmla="*/ 698 h 801"/>
                  <a:gd name="T82" fmla="*/ 216 w 801"/>
                  <a:gd name="T83" fmla="*/ 487 h 801"/>
                  <a:gd name="T84" fmla="*/ 246 w 801"/>
                  <a:gd name="T85" fmla="*/ 470 h 801"/>
                  <a:gd name="T86" fmla="*/ 279 w 801"/>
                  <a:gd name="T87" fmla="*/ 469 h 801"/>
                  <a:gd name="T88" fmla="*/ 304 w 801"/>
                  <a:gd name="T89" fmla="*/ 390 h 801"/>
                  <a:gd name="T90" fmla="*/ 278 w 801"/>
                  <a:gd name="T91" fmla="*/ 320 h 801"/>
                  <a:gd name="T92" fmla="*/ 273 w 801"/>
                  <a:gd name="T93" fmla="*/ 247 h 801"/>
                  <a:gd name="T94" fmla="*/ 288 w 801"/>
                  <a:gd name="T95" fmla="*/ 173 h 801"/>
                  <a:gd name="T96" fmla="*/ 325 w 801"/>
                  <a:gd name="T97" fmla="*/ 107 h 801"/>
                  <a:gd name="T98" fmla="*/ 380 w 801"/>
                  <a:gd name="T99" fmla="*/ 52 h 801"/>
                  <a:gd name="T100" fmla="*/ 446 w 801"/>
                  <a:gd name="T101" fmla="*/ 16 h 801"/>
                  <a:gd name="T102" fmla="*/ 519 w 801"/>
                  <a:gd name="T103" fmla="*/ 0 h 8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01" h="801">
                    <a:moveTo>
                      <a:pt x="521" y="76"/>
                    </a:moveTo>
                    <a:lnTo>
                      <a:pt x="489" y="81"/>
                    </a:lnTo>
                    <a:lnTo>
                      <a:pt x="458" y="92"/>
                    </a:lnTo>
                    <a:lnTo>
                      <a:pt x="429" y="109"/>
                    </a:lnTo>
                    <a:lnTo>
                      <a:pt x="403" y="130"/>
                    </a:lnTo>
                    <a:lnTo>
                      <a:pt x="381" y="157"/>
                    </a:lnTo>
                    <a:lnTo>
                      <a:pt x="365" y="185"/>
                    </a:lnTo>
                    <a:lnTo>
                      <a:pt x="354" y="216"/>
                    </a:lnTo>
                    <a:lnTo>
                      <a:pt x="349" y="248"/>
                    </a:lnTo>
                    <a:lnTo>
                      <a:pt x="349" y="280"/>
                    </a:lnTo>
                    <a:lnTo>
                      <a:pt x="354" y="312"/>
                    </a:lnTo>
                    <a:lnTo>
                      <a:pt x="365" y="342"/>
                    </a:lnTo>
                    <a:lnTo>
                      <a:pt x="381" y="372"/>
                    </a:lnTo>
                    <a:lnTo>
                      <a:pt x="403" y="398"/>
                    </a:lnTo>
                    <a:lnTo>
                      <a:pt x="429" y="420"/>
                    </a:lnTo>
                    <a:lnTo>
                      <a:pt x="458" y="436"/>
                    </a:lnTo>
                    <a:lnTo>
                      <a:pt x="489" y="447"/>
                    </a:lnTo>
                    <a:lnTo>
                      <a:pt x="521" y="453"/>
                    </a:lnTo>
                    <a:lnTo>
                      <a:pt x="553" y="453"/>
                    </a:lnTo>
                    <a:lnTo>
                      <a:pt x="585" y="447"/>
                    </a:lnTo>
                    <a:lnTo>
                      <a:pt x="616" y="436"/>
                    </a:lnTo>
                    <a:lnTo>
                      <a:pt x="644" y="420"/>
                    </a:lnTo>
                    <a:lnTo>
                      <a:pt x="671" y="398"/>
                    </a:lnTo>
                    <a:lnTo>
                      <a:pt x="692" y="372"/>
                    </a:lnTo>
                    <a:lnTo>
                      <a:pt x="709" y="342"/>
                    </a:lnTo>
                    <a:lnTo>
                      <a:pt x="720" y="312"/>
                    </a:lnTo>
                    <a:lnTo>
                      <a:pt x="725" y="280"/>
                    </a:lnTo>
                    <a:lnTo>
                      <a:pt x="725" y="248"/>
                    </a:lnTo>
                    <a:lnTo>
                      <a:pt x="720" y="216"/>
                    </a:lnTo>
                    <a:lnTo>
                      <a:pt x="709" y="185"/>
                    </a:lnTo>
                    <a:lnTo>
                      <a:pt x="692" y="157"/>
                    </a:lnTo>
                    <a:lnTo>
                      <a:pt x="671" y="130"/>
                    </a:lnTo>
                    <a:lnTo>
                      <a:pt x="644" y="109"/>
                    </a:lnTo>
                    <a:lnTo>
                      <a:pt x="616" y="92"/>
                    </a:lnTo>
                    <a:lnTo>
                      <a:pt x="585" y="81"/>
                    </a:lnTo>
                    <a:lnTo>
                      <a:pt x="553" y="76"/>
                    </a:lnTo>
                    <a:lnTo>
                      <a:pt x="521" y="76"/>
                    </a:lnTo>
                    <a:close/>
                    <a:moveTo>
                      <a:pt x="519" y="0"/>
                    </a:moveTo>
                    <a:lnTo>
                      <a:pt x="556" y="0"/>
                    </a:lnTo>
                    <a:lnTo>
                      <a:pt x="592" y="6"/>
                    </a:lnTo>
                    <a:lnTo>
                      <a:pt x="628" y="16"/>
                    </a:lnTo>
                    <a:lnTo>
                      <a:pt x="662" y="31"/>
                    </a:lnTo>
                    <a:lnTo>
                      <a:pt x="694" y="52"/>
                    </a:lnTo>
                    <a:lnTo>
                      <a:pt x="724" y="77"/>
                    </a:lnTo>
                    <a:lnTo>
                      <a:pt x="750" y="107"/>
                    </a:lnTo>
                    <a:lnTo>
                      <a:pt x="771" y="139"/>
                    </a:lnTo>
                    <a:lnTo>
                      <a:pt x="785" y="173"/>
                    </a:lnTo>
                    <a:lnTo>
                      <a:pt x="795" y="209"/>
                    </a:lnTo>
                    <a:lnTo>
                      <a:pt x="801" y="245"/>
                    </a:lnTo>
                    <a:lnTo>
                      <a:pt x="801" y="282"/>
                    </a:lnTo>
                    <a:lnTo>
                      <a:pt x="795" y="319"/>
                    </a:lnTo>
                    <a:lnTo>
                      <a:pt x="785" y="355"/>
                    </a:lnTo>
                    <a:lnTo>
                      <a:pt x="771" y="389"/>
                    </a:lnTo>
                    <a:lnTo>
                      <a:pt x="750" y="421"/>
                    </a:lnTo>
                    <a:lnTo>
                      <a:pt x="724" y="450"/>
                    </a:lnTo>
                    <a:lnTo>
                      <a:pt x="694" y="476"/>
                    </a:lnTo>
                    <a:lnTo>
                      <a:pt x="662" y="497"/>
                    </a:lnTo>
                    <a:lnTo>
                      <a:pt x="628" y="513"/>
                    </a:lnTo>
                    <a:lnTo>
                      <a:pt x="591" y="523"/>
                    </a:lnTo>
                    <a:lnTo>
                      <a:pt x="554" y="528"/>
                    </a:lnTo>
                    <a:lnTo>
                      <a:pt x="517" y="528"/>
                    </a:lnTo>
                    <a:lnTo>
                      <a:pt x="481" y="523"/>
                    </a:lnTo>
                    <a:lnTo>
                      <a:pt x="445" y="512"/>
                    </a:lnTo>
                    <a:lnTo>
                      <a:pt x="411" y="497"/>
                    </a:lnTo>
                    <a:lnTo>
                      <a:pt x="379" y="476"/>
                    </a:lnTo>
                    <a:lnTo>
                      <a:pt x="333" y="522"/>
                    </a:lnTo>
                    <a:lnTo>
                      <a:pt x="334" y="538"/>
                    </a:lnTo>
                    <a:lnTo>
                      <a:pt x="331" y="555"/>
                    </a:lnTo>
                    <a:lnTo>
                      <a:pt x="325" y="569"/>
                    </a:lnTo>
                    <a:lnTo>
                      <a:pt x="313" y="584"/>
                    </a:lnTo>
                    <a:lnTo>
                      <a:pt x="117" y="781"/>
                    </a:lnTo>
                    <a:lnTo>
                      <a:pt x="102" y="792"/>
                    </a:lnTo>
                    <a:lnTo>
                      <a:pt x="85" y="799"/>
                    </a:lnTo>
                    <a:lnTo>
                      <a:pt x="68" y="801"/>
                    </a:lnTo>
                    <a:lnTo>
                      <a:pt x="51" y="799"/>
                    </a:lnTo>
                    <a:lnTo>
                      <a:pt x="35" y="792"/>
                    </a:lnTo>
                    <a:lnTo>
                      <a:pt x="20" y="781"/>
                    </a:lnTo>
                    <a:lnTo>
                      <a:pt x="9" y="766"/>
                    </a:lnTo>
                    <a:lnTo>
                      <a:pt x="1" y="750"/>
                    </a:lnTo>
                    <a:lnTo>
                      <a:pt x="0" y="733"/>
                    </a:lnTo>
                    <a:lnTo>
                      <a:pt x="1" y="715"/>
                    </a:lnTo>
                    <a:lnTo>
                      <a:pt x="9" y="698"/>
                    </a:lnTo>
                    <a:lnTo>
                      <a:pt x="20" y="684"/>
                    </a:lnTo>
                    <a:lnTo>
                      <a:pt x="216" y="487"/>
                    </a:lnTo>
                    <a:lnTo>
                      <a:pt x="231" y="476"/>
                    </a:lnTo>
                    <a:lnTo>
                      <a:pt x="246" y="470"/>
                    </a:lnTo>
                    <a:lnTo>
                      <a:pt x="263" y="466"/>
                    </a:lnTo>
                    <a:lnTo>
                      <a:pt x="279" y="469"/>
                    </a:lnTo>
                    <a:lnTo>
                      <a:pt x="325" y="422"/>
                    </a:lnTo>
                    <a:lnTo>
                      <a:pt x="304" y="390"/>
                    </a:lnTo>
                    <a:lnTo>
                      <a:pt x="289" y="356"/>
                    </a:lnTo>
                    <a:lnTo>
                      <a:pt x="278" y="320"/>
                    </a:lnTo>
                    <a:lnTo>
                      <a:pt x="273" y="283"/>
                    </a:lnTo>
                    <a:lnTo>
                      <a:pt x="273" y="247"/>
                    </a:lnTo>
                    <a:lnTo>
                      <a:pt x="278" y="210"/>
                    </a:lnTo>
                    <a:lnTo>
                      <a:pt x="288" y="173"/>
                    </a:lnTo>
                    <a:lnTo>
                      <a:pt x="304" y="139"/>
                    </a:lnTo>
                    <a:lnTo>
                      <a:pt x="325" y="107"/>
                    </a:lnTo>
                    <a:lnTo>
                      <a:pt x="350" y="77"/>
                    </a:lnTo>
                    <a:lnTo>
                      <a:pt x="380" y="52"/>
                    </a:lnTo>
                    <a:lnTo>
                      <a:pt x="412" y="31"/>
                    </a:lnTo>
                    <a:lnTo>
                      <a:pt x="446" y="16"/>
                    </a:lnTo>
                    <a:lnTo>
                      <a:pt x="482" y="6"/>
                    </a:lnTo>
                    <a:lnTo>
                      <a:pt x="51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8" name="Rectangle 32"/>
              <p:cNvSpPr>
                <a:spLocks noChangeArrowheads="1"/>
              </p:cNvSpPr>
              <p:nvPr/>
            </p:nvSpPr>
            <p:spPr bwMode="auto">
              <a:xfrm>
                <a:off x="206" y="795"/>
                <a:ext cx="20" cy="195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9" name="Freeform 33"/>
              <p:cNvSpPr>
                <a:spLocks/>
              </p:cNvSpPr>
              <p:nvPr/>
            </p:nvSpPr>
            <p:spPr bwMode="auto">
              <a:xfrm>
                <a:off x="164" y="827"/>
                <a:ext cx="20" cy="163"/>
              </a:xfrm>
              <a:custGeom>
                <a:avLst/>
                <a:gdLst>
                  <a:gd name="T0" fmla="*/ 0 w 101"/>
                  <a:gd name="T1" fmla="*/ 0 h 815"/>
                  <a:gd name="T2" fmla="*/ 101 w 101"/>
                  <a:gd name="T3" fmla="*/ 0 h 815"/>
                  <a:gd name="T4" fmla="*/ 101 w 101"/>
                  <a:gd name="T5" fmla="*/ 815 h 815"/>
                  <a:gd name="T6" fmla="*/ 0 w 101"/>
                  <a:gd name="T7" fmla="*/ 815 h 815"/>
                  <a:gd name="T8" fmla="*/ 0 w 101"/>
                  <a:gd name="T9" fmla="*/ 275 h 815"/>
                  <a:gd name="T10" fmla="*/ 8 w 101"/>
                  <a:gd name="T11" fmla="*/ 236 h 815"/>
                  <a:gd name="T12" fmla="*/ 10 w 101"/>
                  <a:gd name="T13" fmla="*/ 197 h 815"/>
                  <a:gd name="T14" fmla="*/ 8 w 101"/>
                  <a:gd name="T15" fmla="*/ 156 h 815"/>
                  <a:gd name="T16" fmla="*/ 0 w 101"/>
                  <a:gd name="T17" fmla="*/ 117 h 815"/>
                  <a:gd name="T18" fmla="*/ 0 w 101"/>
                  <a:gd name="T19" fmla="*/ 0 h 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1" h="815">
                    <a:moveTo>
                      <a:pt x="0" y="0"/>
                    </a:moveTo>
                    <a:lnTo>
                      <a:pt x="101" y="0"/>
                    </a:lnTo>
                    <a:lnTo>
                      <a:pt x="101" y="815"/>
                    </a:lnTo>
                    <a:lnTo>
                      <a:pt x="0" y="815"/>
                    </a:lnTo>
                    <a:lnTo>
                      <a:pt x="0" y="275"/>
                    </a:lnTo>
                    <a:lnTo>
                      <a:pt x="8" y="236"/>
                    </a:lnTo>
                    <a:lnTo>
                      <a:pt x="10" y="197"/>
                    </a:lnTo>
                    <a:lnTo>
                      <a:pt x="8" y="156"/>
                    </a:lnTo>
                    <a:lnTo>
                      <a:pt x="0" y="11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0" name="Freeform 34"/>
              <p:cNvSpPr>
                <a:spLocks/>
              </p:cNvSpPr>
              <p:nvPr/>
            </p:nvSpPr>
            <p:spPr bwMode="auto">
              <a:xfrm>
                <a:off x="120" y="917"/>
                <a:ext cx="21" cy="73"/>
              </a:xfrm>
              <a:custGeom>
                <a:avLst/>
                <a:gdLst>
                  <a:gd name="T0" fmla="*/ 101 w 101"/>
                  <a:gd name="T1" fmla="*/ 0 h 364"/>
                  <a:gd name="T2" fmla="*/ 101 w 101"/>
                  <a:gd name="T3" fmla="*/ 364 h 364"/>
                  <a:gd name="T4" fmla="*/ 0 w 101"/>
                  <a:gd name="T5" fmla="*/ 364 h 364"/>
                  <a:gd name="T6" fmla="*/ 0 w 101"/>
                  <a:gd name="T7" fmla="*/ 51 h 364"/>
                  <a:gd name="T8" fmla="*/ 35 w 101"/>
                  <a:gd name="T9" fmla="*/ 38 h 364"/>
                  <a:gd name="T10" fmla="*/ 69 w 101"/>
                  <a:gd name="T11" fmla="*/ 21 h 364"/>
                  <a:gd name="T12" fmla="*/ 101 w 101"/>
                  <a:gd name="T13" fmla="*/ 0 h 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1" h="364">
                    <a:moveTo>
                      <a:pt x="101" y="0"/>
                    </a:moveTo>
                    <a:lnTo>
                      <a:pt x="101" y="364"/>
                    </a:lnTo>
                    <a:lnTo>
                      <a:pt x="0" y="364"/>
                    </a:lnTo>
                    <a:lnTo>
                      <a:pt x="0" y="51"/>
                    </a:lnTo>
                    <a:lnTo>
                      <a:pt x="35" y="38"/>
                    </a:lnTo>
                    <a:lnTo>
                      <a:pt x="69" y="21"/>
                    </a:lnTo>
                    <a:lnTo>
                      <a:pt x="10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1" name="Freeform 35"/>
              <p:cNvSpPr>
                <a:spLocks/>
              </p:cNvSpPr>
              <p:nvPr/>
            </p:nvSpPr>
            <p:spPr bwMode="auto">
              <a:xfrm>
                <a:off x="75" y="927"/>
                <a:ext cx="20" cy="63"/>
              </a:xfrm>
              <a:custGeom>
                <a:avLst/>
                <a:gdLst>
                  <a:gd name="T0" fmla="*/ 0 w 100"/>
                  <a:gd name="T1" fmla="*/ 0 h 313"/>
                  <a:gd name="T2" fmla="*/ 46 w 100"/>
                  <a:gd name="T3" fmla="*/ 0 h 313"/>
                  <a:gd name="T4" fmla="*/ 73 w 100"/>
                  <a:gd name="T5" fmla="*/ 6 h 313"/>
                  <a:gd name="T6" fmla="*/ 100 w 100"/>
                  <a:gd name="T7" fmla="*/ 11 h 313"/>
                  <a:gd name="T8" fmla="*/ 100 w 100"/>
                  <a:gd name="T9" fmla="*/ 313 h 313"/>
                  <a:gd name="T10" fmla="*/ 0 w 100"/>
                  <a:gd name="T11" fmla="*/ 313 h 313"/>
                  <a:gd name="T12" fmla="*/ 0 w 100"/>
                  <a:gd name="T13" fmla="*/ 0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0" h="313">
                    <a:moveTo>
                      <a:pt x="0" y="0"/>
                    </a:moveTo>
                    <a:lnTo>
                      <a:pt x="46" y="0"/>
                    </a:lnTo>
                    <a:lnTo>
                      <a:pt x="73" y="6"/>
                    </a:lnTo>
                    <a:lnTo>
                      <a:pt x="100" y="11"/>
                    </a:lnTo>
                    <a:lnTo>
                      <a:pt x="100" y="313"/>
                    </a:lnTo>
                    <a:lnTo>
                      <a:pt x="0" y="31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2" name="Freeform 36"/>
              <p:cNvSpPr>
                <a:spLocks/>
              </p:cNvSpPr>
              <p:nvPr/>
            </p:nvSpPr>
            <p:spPr bwMode="auto">
              <a:xfrm>
                <a:off x="29" y="958"/>
                <a:ext cx="20" cy="32"/>
              </a:xfrm>
              <a:custGeom>
                <a:avLst/>
                <a:gdLst>
                  <a:gd name="T0" fmla="*/ 76 w 101"/>
                  <a:gd name="T1" fmla="*/ 0 h 157"/>
                  <a:gd name="T2" fmla="*/ 101 w 101"/>
                  <a:gd name="T3" fmla="*/ 0 h 157"/>
                  <a:gd name="T4" fmla="*/ 101 w 101"/>
                  <a:gd name="T5" fmla="*/ 157 h 157"/>
                  <a:gd name="T6" fmla="*/ 0 w 101"/>
                  <a:gd name="T7" fmla="*/ 157 h 157"/>
                  <a:gd name="T8" fmla="*/ 0 w 101"/>
                  <a:gd name="T9" fmla="*/ 78 h 157"/>
                  <a:gd name="T10" fmla="*/ 76 w 101"/>
                  <a:gd name="T11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1" h="157">
                    <a:moveTo>
                      <a:pt x="76" y="0"/>
                    </a:moveTo>
                    <a:lnTo>
                      <a:pt x="101" y="0"/>
                    </a:lnTo>
                    <a:lnTo>
                      <a:pt x="101" y="157"/>
                    </a:lnTo>
                    <a:lnTo>
                      <a:pt x="0" y="157"/>
                    </a:lnTo>
                    <a:lnTo>
                      <a:pt x="0" y="78"/>
                    </a:lnTo>
                    <a:lnTo>
                      <a:pt x="7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3" name="Freeform 37"/>
              <p:cNvSpPr>
                <a:spLocks/>
              </p:cNvSpPr>
              <p:nvPr/>
            </p:nvSpPr>
            <p:spPr bwMode="auto">
              <a:xfrm>
                <a:off x="-244" y="326"/>
                <a:ext cx="164" cy="165"/>
              </a:xfrm>
              <a:custGeom>
                <a:avLst/>
                <a:gdLst>
                  <a:gd name="T0" fmla="*/ 411 w 823"/>
                  <a:gd name="T1" fmla="*/ 0 h 822"/>
                  <a:gd name="T2" fmla="*/ 468 w 823"/>
                  <a:gd name="T3" fmla="*/ 4 h 822"/>
                  <a:gd name="T4" fmla="*/ 520 w 823"/>
                  <a:gd name="T5" fmla="*/ 15 h 822"/>
                  <a:gd name="T6" fmla="*/ 572 w 823"/>
                  <a:gd name="T7" fmla="*/ 32 h 822"/>
                  <a:gd name="T8" fmla="*/ 619 w 823"/>
                  <a:gd name="T9" fmla="*/ 55 h 822"/>
                  <a:gd name="T10" fmla="*/ 663 w 823"/>
                  <a:gd name="T11" fmla="*/ 86 h 822"/>
                  <a:gd name="T12" fmla="*/ 702 w 823"/>
                  <a:gd name="T13" fmla="*/ 120 h 822"/>
                  <a:gd name="T14" fmla="*/ 738 w 823"/>
                  <a:gd name="T15" fmla="*/ 160 h 822"/>
                  <a:gd name="T16" fmla="*/ 767 w 823"/>
                  <a:gd name="T17" fmla="*/ 204 h 822"/>
                  <a:gd name="T18" fmla="*/ 791 w 823"/>
                  <a:gd name="T19" fmla="*/ 250 h 822"/>
                  <a:gd name="T20" fmla="*/ 808 w 823"/>
                  <a:gd name="T21" fmla="*/ 302 h 822"/>
                  <a:gd name="T22" fmla="*/ 819 w 823"/>
                  <a:gd name="T23" fmla="*/ 355 h 822"/>
                  <a:gd name="T24" fmla="*/ 823 w 823"/>
                  <a:gd name="T25" fmla="*/ 411 h 822"/>
                  <a:gd name="T26" fmla="*/ 819 w 823"/>
                  <a:gd name="T27" fmla="*/ 466 h 822"/>
                  <a:gd name="T28" fmla="*/ 808 w 823"/>
                  <a:gd name="T29" fmla="*/ 520 h 822"/>
                  <a:gd name="T30" fmla="*/ 791 w 823"/>
                  <a:gd name="T31" fmla="*/ 571 h 822"/>
                  <a:gd name="T32" fmla="*/ 767 w 823"/>
                  <a:gd name="T33" fmla="*/ 619 h 822"/>
                  <a:gd name="T34" fmla="*/ 738 w 823"/>
                  <a:gd name="T35" fmla="*/ 663 h 822"/>
                  <a:gd name="T36" fmla="*/ 702 w 823"/>
                  <a:gd name="T37" fmla="*/ 702 h 822"/>
                  <a:gd name="T38" fmla="*/ 663 w 823"/>
                  <a:gd name="T39" fmla="*/ 736 h 822"/>
                  <a:gd name="T40" fmla="*/ 619 w 823"/>
                  <a:gd name="T41" fmla="*/ 766 h 822"/>
                  <a:gd name="T42" fmla="*/ 572 w 823"/>
                  <a:gd name="T43" fmla="*/ 790 h 822"/>
                  <a:gd name="T44" fmla="*/ 520 w 823"/>
                  <a:gd name="T45" fmla="*/ 808 h 822"/>
                  <a:gd name="T46" fmla="*/ 468 w 823"/>
                  <a:gd name="T47" fmla="*/ 819 h 822"/>
                  <a:gd name="T48" fmla="*/ 411 w 823"/>
                  <a:gd name="T49" fmla="*/ 822 h 822"/>
                  <a:gd name="T50" fmla="*/ 356 w 823"/>
                  <a:gd name="T51" fmla="*/ 819 h 822"/>
                  <a:gd name="T52" fmla="*/ 302 w 823"/>
                  <a:gd name="T53" fmla="*/ 808 h 822"/>
                  <a:gd name="T54" fmla="*/ 251 w 823"/>
                  <a:gd name="T55" fmla="*/ 790 h 822"/>
                  <a:gd name="T56" fmla="*/ 203 w 823"/>
                  <a:gd name="T57" fmla="*/ 766 h 822"/>
                  <a:gd name="T58" fmla="*/ 159 w 823"/>
                  <a:gd name="T59" fmla="*/ 736 h 822"/>
                  <a:gd name="T60" fmla="*/ 120 w 823"/>
                  <a:gd name="T61" fmla="*/ 702 h 822"/>
                  <a:gd name="T62" fmla="*/ 86 w 823"/>
                  <a:gd name="T63" fmla="*/ 663 h 822"/>
                  <a:gd name="T64" fmla="*/ 56 w 823"/>
                  <a:gd name="T65" fmla="*/ 619 h 822"/>
                  <a:gd name="T66" fmla="*/ 31 w 823"/>
                  <a:gd name="T67" fmla="*/ 571 h 822"/>
                  <a:gd name="T68" fmla="*/ 14 w 823"/>
                  <a:gd name="T69" fmla="*/ 520 h 822"/>
                  <a:gd name="T70" fmla="*/ 3 w 823"/>
                  <a:gd name="T71" fmla="*/ 466 h 822"/>
                  <a:gd name="T72" fmla="*/ 0 w 823"/>
                  <a:gd name="T73" fmla="*/ 411 h 822"/>
                  <a:gd name="T74" fmla="*/ 3 w 823"/>
                  <a:gd name="T75" fmla="*/ 355 h 822"/>
                  <a:gd name="T76" fmla="*/ 14 w 823"/>
                  <a:gd name="T77" fmla="*/ 302 h 822"/>
                  <a:gd name="T78" fmla="*/ 31 w 823"/>
                  <a:gd name="T79" fmla="*/ 250 h 822"/>
                  <a:gd name="T80" fmla="*/ 56 w 823"/>
                  <a:gd name="T81" fmla="*/ 204 h 822"/>
                  <a:gd name="T82" fmla="*/ 86 w 823"/>
                  <a:gd name="T83" fmla="*/ 160 h 822"/>
                  <a:gd name="T84" fmla="*/ 120 w 823"/>
                  <a:gd name="T85" fmla="*/ 120 h 822"/>
                  <a:gd name="T86" fmla="*/ 159 w 823"/>
                  <a:gd name="T87" fmla="*/ 86 h 822"/>
                  <a:gd name="T88" fmla="*/ 203 w 823"/>
                  <a:gd name="T89" fmla="*/ 55 h 822"/>
                  <a:gd name="T90" fmla="*/ 251 w 823"/>
                  <a:gd name="T91" fmla="*/ 32 h 822"/>
                  <a:gd name="T92" fmla="*/ 302 w 823"/>
                  <a:gd name="T93" fmla="*/ 15 h 822"/>
                  <a:gd name="T94" fmla="*/ 356 w 823"/>
                  <a:gd name="T95" fmla="*/ 4 h 822"/>
                  <a:gd name="T96" fmla="*/ 411 w 823"/>
                  <a:gd name="T97" fmla="*/ 0 h 8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23" h="822">
                    <a:moveTo>
                      <a:pt x="411" y="0"/>
                    </a:moveTo>
                    <a:lnTo>
                      <a:pt x="468" y="4"/>
                    </a:lnTo>
                    <a:lnTo>
                      <a:pt x="520" y="15"/>
                    </a:lnTo>
                    <a:lnTo>
                      <a:pt x="572" y="32"/>
                    </a:lnTo>
                    <a:lnTo>
                      <a:pt x="619" y="55"/>
                    </a:lnTo>
                    <a:lnTo>
                      <a:pt x="663" y="86"/>
                    </a:lnTo>
                    <a:lnTo>
                      <a:pt x="702" y="120"/>
                    </a:lnTo>
                    <a:lnTo>
                      <a:pt x="738" y="160"/>
                    </a:lnTo>
                    <a:lnTo>
                      <a:pt x="767" y="204"/>
                    </a:lnTo>
                    <a:lnTo>
                      <a:pt x="791" y="250"/>
                    </a:lnTo>
                    <a:lnTo>
                      <a:pt x="808" y="302"/>
                    </a:lnTo>
                    <a:lnTo>
                      <a:pt x="819" y="355"/>
                    </a:lnTo>
                    <a:lnTo>
                      <a:pt x="823" y="411"/>
                    </a:lnTo>
                    <a:lnTo>
                      <a:pt x="819" y="466"/>
                    </a:lnTo>
                    <a:lnTo>
                      <a:pt x="808" y="520"/>
                    </a:lnTo>
                    <a:lnTo>
                      <a:pt x="791" y="571"/>
                    </a:lnTo>
                    <a:lnTo>
                      <a:pt x="767" y="619"/>
                    </a:lnTo>
                    <a:lnTo>
                      <a:pt x="738" y="663"/>
                    </a:lnTo>
                    <a:lnTo>
                      <a:pt x="702" y="702"/>
                    </a:lnTo>
                    <a:lnTo>
                      <a:pt x="663" y="736"/>
                    </a:lnTo>
                    <a:lnTo>
                      <a:pt x="619" y="766"/>
                    </a:lnTo>
                    <a:lnTo>
                      <a:pt x="572" y="790"/>
                    </a:lnTo>
                    <a:lnTo>
                      <a:pt x="520" y="808"/>
                    </a:lnTo>
                    <a:lnTo>
                      <a:pt x="468" y="819"/>
                    </a:lnTo>
                    <a:lnTo>
                      <a:pt x="411" y="822"/>
                    </a:lnTo>
                    <a:lnTo>
                      <a:pt x="356" y="819"/>
                    </a:lnTo>
                    <a:lnTo>
                      <a:pt x="302" y="808"/>
                    </a:lnTo>
                    <a:lnTo>
                      <a:pt x="251" y="790"/>
                    </a:lnTo>
                    <a:lnTo>
                      <a:pt x="203" y="766"/>
                    </a:lnTo>
                    <a:lnTo>
                      <a:pt x="159" y="736"/>
                    </a:lnTo>
                    <a:lnTo>
                      <a:pt x="120" y="702"/>
                    </a:lnTo>
                    <a:lnTo>
                      <a:pt x="86" y="663"/>
                    </a:lnTo>
                    <a:lnTo>
                      <a:pt x="56" y="619"/>
                    </a:lnTo>
                    <a:lnTo>
                      <a:pt x="31" y="571"/>
                    </a:lnTo>
                    <a:lnTo>
                      <a:pt x="14" y="520"/>
                    </a:lnTo>
                    <a:lnTo>
                      <a:pt x="3" y="466"/>
                    </a:lnTo>
                    <a:lnTo>
                      <a:pt x="0" y="411"/>
                    </a:lnTo>
                    <a:lnTo>
                      <a:pt x="3" y="355"/>
                    </a:lnTo>
                    <a:lnTo>
                      <a:pt x="14" y="302"/>
                    </a:lnTo>
                    <a:lnTo>
                      <a:pt x="31" y="250"/>
                    </a:lnTo>
                    <a:lnTo>
                      <a:pt x="56" y="204"/>
                    </a:lnTo>
                    <a:lnTo>
                      <a:pt x="86" y="160"/>
                    </a:lnTo>
                    <a:lnTo>
                      <a:pt x="120" y="120"/>
                    </a:lnTo>
                    <a:lnTo>
                      <a:pt x="159" y="86"/>
                    </a:lnTo>
                    <a:lnTo>
                      <a:pt x="203" y="55"/>
                    </a:lnTo>
                    <a:lnTo>
                      <a:pt x="251" y="32"/>
                    </a:lnTo>
                    <a:lnTo>
                      <a:pt x="302" y="15"/>
                    </a:lnTo>
                    <a:lnTo>
                      <a:pt x="356" y="4"/>
                    </a:lnTo>
                    <a:lnTo>
                      <a:pt x="41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4" name="Freeform 38"/>
              <p:cNvSpPr>
                <a:spLocks noEditPoints="1"/>
              </p:cNvSpPr>
              <p:nvPr/>
            </p:nvSpPr>
            <p:spPr bwMode="auto">
              <a:xfrm>
                <a:off x="-319" y="499"/>
                <a:ext cx="394" cy="626"/>
              </a:xfrm>
              <a:custGeom>
                <a:avLst/>
                <a:gdLst>
                  <a:gd name="T0" fmla="*/ 803 w 1972"/>
                  <a:gd name="T1" fmla="*/ 918 h 3129"/>
                  <a:gd name="T2" fmla="*/ 805 w 1972"/>
                  <a:gd name="T3" fmla="*/ 119 h 3129"/>
                  <a:gd name="T4" fmla="*/ 805 w 1972"/>
                  <a:gd name="T5" fmla="*/ 104 h 3129"/>
                  <a:gd name="T6" fmla="*/ 1008 w 1972"/>
                  <a:gd name="T7" fmla="*/ 39 h 3129"/>
                  <a:gd name="T8" fmla="*/ 1079 w 1972"/>
                  <a:gd name="T9" fmla="*/ 77 h 3129"/>
                  <a:gd name="T10" fmla="*/ 1193 w 1972"/>
                  <a:gd name="T11" fmla="*/ 173 h 3129"/>
                  <a:gd name="T12" fmla="*/ 1285 w 1972"/>
                  <a:gd name="T13" fmla="*/ 287 h 3129"/>
                  <a:gd name="T14" fmla="*/ 1361 w 1972"/>
                  <a:gd name="T15" fmla="*/ 402 h 3129"/>
                  <a:gd name="T16" fmla="*/ 1424 w 1972"/>
                  <a:gd name="T17" fmla="*/ 491 h 3129"/>
                  <a:gd name="T18" fmla="*/ 1481 w 1972"/>
                  <a:gd name="T19" fmla="*/ 548 h 3129"/>
                  <a:gd name="T20" fmla="*/ 1545 w 1972"/>
                  <a:gd name="T21" fmla="*/ 572 h 3129"/>
                  <a:gd name="T22" fmla="*/ 1625 w 1972"/>
                  <a:gd name="T23" fmla="*/ 559 h 3129"/>
                  <a:gd name="T24" fmla="*/ 1732 w 1972"/>
                  <a:gd name="T25" fmla="*/ 507 h 3129"/>
                  <a:gd name="T26" fmla="*/ 1823 w 1972"/>
                  <a:gd name="T27" fmla="*/ 486 h 3129"/>
                  <a:gd name="T28" fmla="*/ 1908 w 1972"/>
                  <a:gd name="T29" fmla="*/ 516 h 3129"/>
                  <a:gd name="T30" fmla="*/ 1962 w 1972"/>
                  <a:gd name="T31" fmla="*/ 589 h 3129"/>
                  <a:gd name="T32" fmla="*/ 1619 w 1972"/>
                  <a:gd name="T33" fmla="*/ 640 h 3129"/>
                  <a:gd name="T34" fmla="*/ 1368 w 1972"/>
                  <a:gd name="T35" fmla="*/ 849 h 3129"/>
                  <a:gd name="T36" fmla="*/ 1323 w 1972"/>
                  <a:gd name="T37" fmla="*/ 822 h 3129"/>
                  <a:gd name="T38" fmla="*/ 1263 w 1972"/>
                  <a:gd name="T39" fmla="*/ 778 h 3129"/>
                  <a:gd name="T40" fmla="*/ 1226 w 1972"/>
                  <a:gd name="T41" fmla="*/ 1266 h 3129"/>
                  <a:gd name="T42" fmla="*/ 1203 w 1972"/>
                  <a:gd name="T43" fmla="*/ 1385 h 3129"/>
                  <a:gd name="T44" fmla="*/ 1183 w 1972"/>
                  <a:gd name="T45" fmla="*/ 2978 h 3129"/>
                  <a:gd name="T46" fmla="*/ 1131 w 1972"/>
                  <a:gd name="T47" fmla="*/ 3074 h 3129"/>
                  <a:gd name="T48" fmla="*/ 1036 w 1972"/>
                  <a:gd name="T49" fmla="*/ 3126 h 3129"/>
                  <a:gd name="T50" fmla="*/ 924 w 1972"/>
                  <a:gd name="T51" fmla="*/ 3115 h 3129"/>
                  <a:gd name="T52" fmla="*/ 840 w 1972"/>
                  <a:gd name="T53" fmla="*/ 3046 h 3129"/>
                  <a:gd name="T54" fmla="*/ 808 w 1972"/>
                  <a:gd name="T55" fmla="*/ 2940 h 3129"/>
                  <a:gd name="T56" fmla="*/ 781 w 1972"/>
                  <a:gd name="T57" fmla="*/ 1628 h 3129"/>
                  <a:gd name="T58" fmla="*/ 766 w 1972"/>
                  <a:gd name="T59" fmla="*/ 3014 h 3129"/>
                  <a:gd name="T60" fmla="*/ 699 w 1972"/>
                  <a:gd name="T61" fmla="*/ 3097 h 3129"/>
                  <a:gd name="T62" fmla="*/ 593 w 1972"/>
                  <a:gd name="T63" fmla="*/ 3129 h 3129"/>
                  <a:gd name="T64" fmla="*/ 488 w 1972"/>
                  <a:gd name="T65" fmla="*/ 3097 h 3129"/>
                  <a:gd name="T66" fmla="*/ 419 w 1972"/>
                  <a:gd name="T67" fmla="*/ 3014 h 3129"/>
                  <a:gd name="T68" fmla="*/ 404 w 1972"/>
                  <a:gd name="T69" fmla="*/ 1411 h 3129"/>
                  <a:gd name="T70" fmla="*/ 386 w 1972"/>
                  <a:gd name="T71" fmla="*/ 1308 h 3129"/>
                  <a:gd name="T72" fmla="*/ 368 w 1972"/>
                  <a:gd name="T73" fmla="*/ 671 h 3129"/>
                  <a:gd name="T74" fmla="*/ 338 w 1972"/>
                  <a:gd name="T75" fmla="*/ 794 h 3129"/>
                  <a:gd name="T76" fmla="*/ 320 w 1972"/>
                  <a:gd name="T77" fmla="*/ 952 h 3129"/>
                  <a:gd name="T78" fmla="*/ 322 w 1972"/>
                  <a:gd name="T79" fmla="*/ 1153 h 3129"/>
                  <a:gd name="T80" fmla="*/ 332 w 1972"/>
                  <a:gd name="T81" fmla="*/ 1349 h 3129"/>
                  <a:gd name="T82" fmla="*/ 296 w 1972"/>
                  <a:gd name="T83" fmla="*/ 1433 h 3129"/>
                  <a:gd name="T84" fmla="*/ 218 w 1972"/>
                  <a:gd name="T85" fmla="*/ 1484 h 3129"/>
                  <a:gd name="T86" fmla="*/ 142 w 1972"/>
                  <a:gd name="T87" fmla="*/ 1487 h 3129"/>
                  <a:gd name="T88" fmla="*/ 65 w 1972"/>
                  <a:gd name="T89" fmla="*/ 1448 h 3129"/>
                  <a:gd name="T90" fmla="*/ 19 w 1972"/>
                  <a:gd name="T91" fmla="*/ 1373 h 3129"/>
                  <a:gd name="T92" fmla="*/ 1 w 1972"/>
                  <a:gd name="T93" fmla="*/ 1146 h 3129"/>
                  <a:gd name="T94" fmla="*/ 1 w 1972"/>
                  <a:gd name="T95" fmla="*/ 972 h 3129"/>
                  <a:gd name="T96" fmla="*/ 21 w 1972"/>
                  <a:gd name="T97" fmla="*/ 753 h 3129"/>
                  <a:gd name="T98" fmla="*/ 62 w 1972"/>
                  <a:gd name="T99" fmla="*/ 577 h 3129"/>
                  <a:gd name="T100" fmla="*/ 124 w 1972"/>
                  <a:gd name="T101" fmla="*/ 437 h 3129"/>
                  <a:gd name="T102" fmla="*/ 204 w 1972"/>
                  <a:gd name="T103" fmla="*/ 324 h 3129"/>
                  <a:gd name="T104" fmla="*/ 300 w 1972"/>
                  <a:gd name="T105" fmla="*/ 232 h 3129"/>
                  <a:gd name="T106" fmla="*/ 408 w 1972"/>
                  <a:gd name="T107" fmla="*/ 153 h 3129"/>
                  <a:gd name="T108" fmla="*/ 529 w 1972"/>
                  <a:gd name="T109" fmla="*/ 77 h 3129"/>
                  <a:gd name="T110" fmla="*/ 651 w 1972"/>
                  <a:gd name="T111" fmla="*/ 16 h 3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972" h="3129">
                    <a:moveTo>
                      <a:pt x="803" y="119"/>
                    </a:moveTo>
                    <a:lnTo>
                      <a:pt x="704" y="783"/>
                    </a:lnTo>
                    <a:lnTo>
                      <a:pt x="803" y="918"/>
                    </a:lnTo>
                    <a:lnTo>
                      <a:pt x="805" y="918"/>
                    </a:lnTo>
                    <a:lnTo>
                      <a:pt x="904" y="783"/>
                    </a:lnTo>
                    <a:lnTo>
                      <a:pt x="805" y="119"/>
                    </a:lnTo>
                    <a:lnTo>
                      <a:pt x="803" y="119"/>
                    </a:lnTo>
                    <a:close/>
                    <a:moveTo>
                      <a:pt x="705" y="0"/>
                    </a:moveTo>
                    <a:lnTo>
                      <a:pt x="805" y="104"/>
                    </a:lnTo>
                    <a:lnTo>
                      <a:pt x="906" y="1"/>
                    </a:lnTo>
                    <a:lnTo>
                      <a:pt x="958" y="17"/>
                    </a:lnTo>
                    <a:lnTo>
                      <a:pt x="1008" y="39"/>
                    </a:lnTo>
                    <a:lnTo>
                      <a:pt x="1056" y="67"/>
                    </a:lnTo>
                    <a:lnTo>
                      <a:pt x="1067" y="71"/>
                    </a:lnTo>
                    <a:lnTo>
                      <a:pt x="1079" y="77"/>
                    </a:lnTo>
                    <a:lnTo>
                      <a:pt x="1119" y="105"/>
                    </a:lnTo>
                    <a:lnTo>
                      <a:pt x="1158" y="138"/>
                    </a:lnTo>
                    <a:lnTo>
                      <a:pt x="1193" y="173"/>
                    </a:lnTo>
                    <a:lnTo>
                      <a:pt x="1226" y="210"/>
                    </a:lnTo>
                    <a:lnTo>
                      <a:pt x="1255" y="248"/>
                    </a:lnTo>
                    <a:lnTo>
                      <a:pt x="1285" y="287"/>
                    </a:lnTo>
                    <a:lnTo>
                      <a:pt x="1311" y="327"/>
                    </a:lnTo>
                    <a:lnTo>
                      <a:pt x="1337" y="365"/>
                    </a:lnTo>
                    <a:lnTo>
                      <a:pt x="1361" y="402"/>
                    </a:lnTo>
                    <a:lnTo>
                      <a:pt x="1383" y="435"/>
                    </a:lnTo>
                    <a:lnTo>
                      <a:pt x="1404" y="465"/>
                    </a:lnTo>
                    <a:lnTo>
                      <a:pt x="1424" y="491"/>
                    </a:lnTo>
                    <a:lnTo>
                      <a:pt x="1443" y="514"/>
                    </a:lnTo>
                    <a:lnTo>
                      <a:pt x="1463" y="532"/>
                    </a:lnTo>
                    <a:lnTo>
                      <a:pt x="1481" y="548"/>
                    </a:lnTo>
                    <a:lnTo>
                      <a:pt x="1502" y="559"/>
                    </a:lnTo>
                    <a:lnTo>
                      <a:pt x="1523" y="568"/>
                    </a:lnTo>
                    <a:lnTo>
                      <a:pt x="1545" y="572"/>
                    </a:lnTo>
                    <a:lnTo>
                      <a:pt x="1570" y="572"/>
                    </a:lnTo>
                    <a:lnTo>
                      <a:pt x="1597" y="567"/>
                    </a:lnTo>
                    <a:lnTo>
                      <a:pt x="1625" y="559"/>
                    </a:lnTo>
                    <a:lnTo>
                      <a:pt x="1657" y="546"/>
                    </a:lnTo>
                    <a:lnTo>
                      <a:pt x="1693" y="529"/>
                    </a:lnTo>
                    <a:lnTo>
                      <a:pt x="1732" y="507"/>
                    </a:lnTo>
                    <a:lnTo>
                      <a:pt x="1760" y="494"/>
                    </a:lnTo>
                    <a:lnTo>
                      <a:pt x="1791" y="487"/>
                    </a:lnTo>
                    <a:lnTo>
                      <a:pt x="1823" y="486"/>
                    </a:lnTo>
                    <a:lnTo>
                      <a:pt x="1853" y="491"/>
                    </a:lnTo>
                    <a:lnTo>
                      <a:pt x="1882" y="500"/>
                    </a:lnTo>
                    <a:lnTo>
                      <a:pt x="1908" y="516"/>
                    </a:lnTo>
                    <a:lnTo>
                      <a:pt x="1931" y="539"/>
                    </a:lnTo>
                    <a:lnTo>
                      <a:pt x="1951" y="564"/>
                    </a:lnTo>
                    <a:lnTo>
                      <a:pt x="1962" y="589"/>
                    </a:lnTo>
                    <a:lnTo>
                      <a:pt x="1969" y="615"/>
                    </a:lnTo>
                    <a:lnTo>
                      <a:pt x="1972" y="640"/>
                    </a:lnTo>
                    <a:lnTo>
                      <a:pt x="1619" y="640"/>
                    </a:lnTo>
                    <a:lnTo>
                      <a:pt x="1380" y="855"/>
                    </a:lnTo>
                    <a:lnTo>
                      <a:pt x="1376" y="854"/>
                    </a:lnTo>
                    <a:lnTo>
                      <a:pt x="1368" y="849"/>
                    </a:lnTo>
                    <a:lnTo>
                      <a:pt x="1356" y="842"/>
                    </a:lnTo>
                    <a:lnTo>
                      <a:pt x="1341" y="833"/>
                    </a:lnTo>
                    <a:lnTo>
                      <a:pt x="1323" y="822"/>
                    </a:lnTo>
                    <a:lnTo>
                      <a:pt x="1305" y="809"/>
                    </a:lnTo>
                    <a:lnTo>
                      <a:pt x="1284" y="794"/>
                    </a:lnTo>
                    <a:lnTo>
                      <a:pt x="1263" y="778"/>
                    </a:lnTo>
                    <a:lnTo>
                      <a:pt x="1243" y="762"/>
                    </a:lnTo>
                    <a:lnTo>
                      <a:pt x="1226" y="745"/>
                    </a:lnTo>
                    <a:lnTo>
                      <a:pt x="1226" y="1266"/>
                    </a:lnTo>
                    <a:lnTo>
                      <a:pt x="1222" y="1308"/>
                    </a:lnTo>
                    <a:lnTo>
                      <a:pt x="1215" y="1349"/>
                    </a:lnTo>
                    <a:lnTo>
                      <a:pt x="1203" y="1385"/>
                    </a:lnTo>
                    <a:lnTo>
                      <a:pt x="1187" y="1421"/>
                    </a:lnTo>
                    <a:lnTo>
                      <a:pt x="1187" y="2940"/>
                    </a:lnTo>
                    <a:lnTo>
                      <a:pt x="1183" y="2978"/>
                    </a:lnTo>
                    <a:lnTo>
                      <a:pt x="1172" y="3014"/>
                    </a:lnTo>
                    <a:lnTo>
                      <a:pt x="1153" y="3046"/>
                    </a:lnTo>
                    <a:lnTo>
                      <a:pt x="1131" y="3074"/>
                    </a:lnTo>
                    <a:lnTo>
                      <a:pt x="1103" y="3097"/>
                    </a:lnTo>
                    <a:lnTo>
                      <a:pt x="1071" y="3115"/>
                    </a:lnTo>
                    <a:lnTo>
                      <a:pt x="1036" y="3126"/>
                    </a:lnTo>
                    <a:lnTo>
                      <a:pt x="997" y="3129"/>
                    </a:lnTo>
                    <a:lnTo>
                      <a:pt x="959" y="3126"/>
                    </a:lnTo>
                    <a:lnTo>
                      <a:pt x="924" y="3115"/>
                    </a:lnTo>
                    <a:lnTo>
                      <a:pt x="892" y="3097"/>
                    </a:lnTo>
                    <a:lnTo>
                      <a:pt x="863" y="3074"/>
                    </a:lnTo>
                    <a:lnTo>
                      <a:pt x="840" y="3046"/>
                    </a:lnTo>
                    <a:lnTo>
                      <a:pt x="823" y="3014"/>
                    </a:lnTo>
                    <a:lnTo>
                      <a:pt x="812" y="2978"/>
                    </a:lnTo>
                    <a:lnTo>
                      <a:pt x="808" y="2940"/>
                    </a:lnTo>
                    <a:lnTo>
                      <a:pt x="808" y="1630"/>
                    </a:lnTo>
                    <a:lnTo>
                      <a:pt x="805" y="1630"/>
                    </a:lnTo>
                    <a:lnTo>
                      <a:pt x="781" y="1628"/>
                    </a:lnTo>
                    <a:lnTo>
                      <a:pt x="781" y="2940"/>
                    </a:lnTo>
                    <a:lnTo>
                      <a:pt x="777" y="2978"/>
                    </a:lnTo>
                    <a:lnTo>
                      <a:pt x="766" y="3014"/>
                    </a:lnTo>
                    <a:lnTo>
                      <a:pt x="749" y="3046"/>
                    </a:lnTo>
                    <a:lnTo>
                      <a:pt x="726" y="3074"/>
                    </a:lnTo>
                    <a:lnTo>
                      <a:pt x="699" y="3097"/>
                    </a:lnTo>
                    <a:lnTo>
                      <a:pt x="666" y="3115"/>
                    </a:lnTo>
                    <a:lnTo>
                      <a:pt x="631" y="3126"/>
                    </a:lnTo>
                    <a:lnTo>
                      <a:pt x="593" y="3129"/>
                    </a:lnTo>
                    <a:lnTo>
                      <a:pt x="555" y="3126"/>
                    </a:lnTo>
                    <a:lnTo>
                      <a:pt x="519" y="3115"/>
                    </a:lnTo>
                    <a:lnTo>
                      <a:pt x="488" y="3097"/>
                    </a:lnTo>
                    <a:lnTo>
                      <a:pt x="459" y="3074"/>
                    </a:lnTo>
                    <a:lnTo>
                      <a:pt x="436" y="3046"/>
                    </a:lnTo>
                    <a:lnTo>
                      <a:pt x="419" y="3014"/>
                    </a:lnTo>
                    <a:lnTo>
                      <a:pt x="408" y="2978"/>
                    </a:lnTo>
                    <a:lnTo>
                      <a:pt x="404" y="2940"/>
                    </a:lnTo>
                    <a:lnTo>
                      <a:pt x="404" y="1411"/>
                    </a:lnTo>
                    <a:lnTo>
                      <a:pt x="405" y="1387"/>
                    </a:lnTo>
                    <a:lnTo>
                      <a:pt x="393" y="1349"/>
                    </a:lnTo>
                    <a:lnTo>
                      <a:pt x="386" y="1308"/>
                    </a:lnTo>
                    <a:lnTo>
                      <a:pt x="382" y="1266"/>
                    </a:lnTo>
                    <a:lnTo>
                      <a:pt x="382" y="638"/>
                    </a:lnTo>
                    <a:lnTo>
                      <a:pt x="368" y="671"/>
                    </a:lnTo>
                    <a:lnTo>
                      <a:pt x="357" y="708"/>
                    </a:lnTo>
                    <a:lnTo>
                      <a:pt x="346" y="750"/>
                    </a:lnTo>
                    <a:lnTo>
                      <a:pt x="338" y="794"/>
                    </a:lnTo>
                    <a:lnTo>
                      <a:pt x="330" y="842"/>
                    </a:lnTo>
                    <a:lnTo>
                      <a:pt x="324" y="894"/>
                    </a:lnTo>
                    <a:lnTo>
                      <a:pt x="320" y="952"/>
                    </a:lnTo>
                    <a:lnTo>
                      <a:pt x="319" y="1013"/>
                    </a:lnTo>
                    <a:lnTo>
                      <a:pt x="319" y="1081"/>
                    </a:lnTo>
                    <a:lnTo>
                      <a:pt x="322" y="1153"/>
                    </a:lnTo>
                    <a:lnTo>
                      <a:pt x="325" y="1232"/>
                    </a:lnTo>
                    <a:lnTo>
                      <a:pt x="333" y="1317"/>
                    </a:lnTo>
                    <a:lnTo>
                      <a:pt x="332" y="1349"/>
                    </a:lnTo>
                    <a:lnTo>
                      <a:pt x="325" y="1379"/>
                    </a:lnTo>
                    <a:lnTo>
                      <a:pt x="313" y="1407"/>
                    </a:lnTo>
                    <a:lnTo>
                      <a:pt x="296" y="1433"/>
                    </a:lnTo>
                    <a:lnTo>
                      <a:pt x="274" y="1454"/>
                    </a:lnTo>
                    <a:lnTo>
                      <a:pt x="248" y="1471"/>
                    </a:lnTo>
                    <a:lnTo>
                      <a:pt x="218" y="1484"/>
                    </a:lnTo>
                    <a:lnTo>
                      <a:pt x="187" y="1488"/>
                    </a:lnTo>
                    <a:lnTo>
                      <a:pt x="173" y="1490"/>
                    </a:lnTo>
                    <a:lnTo>
                      <a:pt x="142" y="1487"/>
                    </a:lnTo>
                    <a:lnTo>
                      <a:pt x="114" y="1479"/>
                    </a:lnTo>
                    <a:lnTo>
                      <a:pt x="88" y="1465"/>
                    </a:lnTo>
                    <a:lnTo>
                      <a:pt x="65" y="1448"/>
                    </a:lnTo>
                    <a:lnTo>
                      <a:pt x="45" y="1426"/>
                    </a:lnTo>
                    <a:lnTo>
                      <a:pt x="30" y="1401"/>
                    </a:lnTo>
                    <a:lnTo>
                      <a:pt x="19" y="1373"/>
                    </a:lnTo>
                    <a:lnTo>
                      <a:pt x="13" y="1344"/>
                    </a:lnTo>
                    <a:lnTo>
                      <a:pt x="6" y="1242"/>
                    </a:lnTo>
                    <a:lnTo>
                      <a:pt x="1" y="1146"/>
                    </a:lnTo>
                    <a:lnTo>
                      <a:pt x="0" y="1056"/>
                    </a:lnTo>
                    <a:lnTo>
                      <a:pt x="0" y="1055"/>
                    </a:lnTo>
                    <a:lnTo>
                      <a:pt x="1" y="972"/>
                    </a:lnTo>
                    <a:lnTo>
                      <a:pt x="5" y="893"/>
                    </a:lnTo>
                    <a:lnTo>
                      <a:pt x="11" y="821"/>
                    </a:lnTo>
                    <a:lnTo>
                      <a:pt x="21" y="753"/>
                    </a:lnTo>
                    <a:lnTo>
                      <a:pt x="32" y="689"/>
                    </a:lnTo>
                    <a:lnTo>
                      <a:pt x="46" y="632"/>
                    </a:lnTo>
                    <a:lnTo>
                      <a:pt x="62" y="577"/>
                    </a:lnTo>
                    <a:lnTo>
                      <a:pt x="81" y="526"/>
                    </a:lnTo>
                    <a:lnTo>
                      <a:pt x="102" y="480"/>
                    </a:lnTo>
                    <a:lnTo>
                      <a:pt x="124" y="437"/>
                    </a:lnTo>
                    <a:lnTo>
                      <a:pt x="148" y="396"/>
                    </a:lnTo>
                    <a:lnTo>
                      <a:pt x="175" y="358"/>
                    </a:lnTo>
                    <a:lnTo>
                      <a:pt x="204" y="324"/>
                    </a:lnTo>
                    <a:lnTo>
                      <a:pt x="234" y="291"/>
                    </a:lnTo>
                    <a:lnTo>
                      <a:pt x="266" y="260"/>
                    </a:lnTo>
                    <a:lnTo>
                      <a:pt x="300" y="232"/>
                    </a:lnTo>
                    <a:lnTo>
                      <a:pt x="334" y="203"/>
                    </a:lnTo>
                    <a:lnTo>
                      <a:pt x="370" y="178"/>
                    </a:lnTo>
                    <a:lnTo>
                      <a:pt x="408" y="153"/>
                    </a:lnTo>
                    <a:lnTo>
                      <a:pt x="446" y="127"/>
                    </a:lnTo>
                    <a:lnTo>
                      <a:pt x="486" y="104"/>
                    </a:lnTo>
                    <a:lnTo>
                      <a:pt x="529" y="77"/>
                    </a:lnTo>
                    <a:lnTo>
                      <a:pt x="550" y="67"/>
                    </a:lnTo>
                    <a:lnTo>
                      <a:pt x="599" y="39"/>
                    </a:lnTo>
                    <a:lnTo>
                      <a:pt x="651" y="16"/>
                    </a:lnTo>
                    <a:lnTo>
                      <a:pt x="704" y="0"/>
                    </a:lnTo>
                    <a:lnTo>
                      <a:pt x="70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grpSp>
        <p:nvGrpSpPr>
          <p:cNvPr id="54" name="Group 52"/>
          <p:cNvGrpSpPr/>
          <p:nvPr/>
        </p:nvGrpSpPr>
        <p:grpSpPr>
          <a:xfrm>
            <a:off x="5691401" y="3673896"/>
            <a:ext cx="622800" cy="619200"/>
            <a:chOff x="4111748" y="1439198"/>
            <a:chExt cx="1104405" cy="1128156"/>
          </a:xfrm>
        </p:grpSpPr>
        <p:sp>
          <p:nvSpPr>
            <p:cNvPr id="57" name="Oval 56"/>
            <p:cNvSpPr/>
            <p:nvPr/>
          </p:nvSpPr>
          <p:spPr>
            <a:xfrm>
              <a:off x="4111748" y="1439198"/>
              <a:ext cx="1104405" cy="112815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US" sz="1350">
                <a:solidFill>
                  <a:srgbClr val="E7EBEE"/>
                </a:solidFill>
                <a:latin typeface="Calibri" panose="020F0502020204030204"/>
              </a:endParaRPr>
            </a:p>
          </p:txBody>
        </p:sp>
        <p:grpSp>
          <p:nvGrpSpPr>
            <p:cNvPr id="60" name="Group 28"/>
            <p:cNvGrpSpPr>
              <a:grpSpLocks noChangeAspect="1"/>
            </p:cNvGrpSpPr>
            <p:nvPr/>
          </p:nvGrpSpPr>
          <p:grpSpPr bwMode="auto">
            <a:xfrm>
              <a:off x="4439692" y="1688085"/>
              <a:ext cx="486790" cy="630381"/>
              <a:chOff x="-319" y="326"/>
              <a:chExt cx="617" cy="799"/>
            </a:xfrm>
            <a:solidFill>
              <a:schemeClr val="accent1"/>
            </a:solidFill>
          </p:grpSpPr>
          <p:sp>
            <p:nvSpPr>
              <p:cNvPr id="61" name="Freeform 30"/>
              <p:cNvSpPr>
                <a:spLocks noEditPoints="1"/>
              </p:cNvSpPr>
              <p:nvPr/>
            </p:nvSpPr>
            <p:spPr bwMode="auto">
              <a:xfrm>
                <a:off x="-55" y="638"/>
                <a:ext cx="353" cy="483"/>
              </a:xfrm>
              <a:custGeom>
                <a:avLst/>
                <a:gdLst>
                  <a:gd name="T0" fmla="*/ 140 w 1762"/>
                  <a:gd name="T1" fmla="*/ 1836 h 2416"/>
                  <a:gd name="T2" fmla="*/ 140 w 1762"/>
                  <a:gd name="T3" fmla="*/ 2276 h 2416"/>
                  <a:gd name="T4" fmla="*/ 1622 w 1762"/>
                  <a:gd name="T5" fmla="*/ 2276 h 2416"/>
                  <a:gd name="T6" fmla="*/ 1622 w 1762"/>
                  <a:gd name="T7" fmla="*/ 1836 h 2416"/>
                  <a:gd name="T8" fmla="*/ 140 w 1762"/>
                  <a:gd name="T9" fmla="*/ 1836 h 2416"/>
                  <a:gd name="T10" fmla="*/ 457 w 1762"/>
                  <a:gd name="T11" fmla="*/ 140 h 2416"/>
                  <a:gd name="T12" fmla="*/ 456 w 1762"/>
                  <a:gd name="T13" fmla="*/ 425 h 2416"/>
                  <a:gd name="T14" fmla="*/ 140 w 1762"/>
                  <a:gd name="T15" fmla="*/ 424 h 2416"/>
                  <a:gd name="T16" fmla="*/ 140 w 1762"/>
                  <a:gd name="T17" fmla="*/ 1789 h 2416"/>
                  <a:gd name="T18" fmla="*/ 1622 w 1762"/>
                  <a:gd name="T19" fmla="*/ 1789 h 2416"/>
                  <a:gd name="T20" fmla="*/ 1622 w 1762"/>
                  <a:gd name="T21" fmla="*/ 140 h 2416"/>
                  <a:gd name="T22" fmla="*/ 457 w 1762"/>
                  <a:gd name="T23" fmla="*/ 140 h 2416"/>
                  <a:gd name="T24" fmla="*/ 318 w 1762"/>
                  <a:gd name="T25" fmla="*/ 0 h 2416"/>
                  <a:gd name="T26" fmla="*/ 318 w 1762"/>
                  <a:gd name="T27" fmla="*/ 1 h 2416"/>
                  <a:gd name="T28" fmla="*/ 1762 w 1762"/>
                  <a:gd name="T29" fmla="*/ 1 h 2416"/>
                  <a:gd name="T30" fmla="*/ 1762 w 1762"/>
                  <a:gd name="T31" fmla="*/ 2416 h 2416"/>
                  <a:gd name="T32" fmla="*/ 0 w 1762"/>
                  <a:gd name="T33" fmla="*/ 2416 h 2416"/>
                  <a:gd name="T34" fmla="*/ 0 w 1762"/>
                  <a:gd name="T35" fmla="*/ 283 h 2416"/>
                  <a:gd name="T36" fmla="*/ 0 w 1762"/>
                  <a:gd name="T37" fmla="*/ 283 h 2416"/>
                  <a:gd name="T38" fmla="*/ 317 w 1762"/>
                  <a:gd name="T39" fmla="*/ 1 h 2416"/>
                  <a:gd name="T40" fmla="*/ 317 w 1762"/>
                  <a:gd name="T41" fmla="*/ 1 h 2416"/>
                  <a:gd name="T42" fmla="*/ 318 w 1762"/>
                  <a:gd name="T43" fmla="*/ 1 h 2416"/>
                  <a:gd name="T44" fmla="*/ 318 w 1762"/>
                  <a:gd name="T45" fmla="*/ 0 h 2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762" h="2416">
                    <a:moveTo>
                      <a:pt x="140" y="1836"/>
                    </a:moveTo>
                    <a:lnTo>
                      <a:pt x="140" y="2276"/>
                    </a:lnTo>
                    <a:lnTo>
                      <a:pt x="1622" y="2276"/>
                    </a:lnTo>
                    <a:lnTo>
                      <a:pt x="1622" y="1836"/>
                    </a:lnTo>
                    <a:lnTo>
                      <a:pt x="140" y="1836"/>
                    </a:lnTo>
                    <a:close/>
                    <a:moveTo>
                      <a:pt x="457" y="140"/>
                    </a:moveTo>
                    <a:lnTo>
                      <a:pt x="456" y="425"/>
                    </a:lnTo>
                    <a:lnTo>
                      <a:pt x="140" y="424"/>
                    </a:lnTo>
                    <a:lnTo>
                      <a:pt x="140" y="1789"/>
                    </a:lnTo>
                    <a:lnTo>
                      <a:pt x="1622" y="1789"/>
                    </a:lnTo>
                    <a:lnTo>
                      <a:pt x="1622" y="140"/>
                    </a:lnTo>
                    <a:lnTo>
                      <a:pt x="457" y="140"/>
                    </a:lnTo>
                    <a:close/>
                    <a:moveTo>
                      <a:pt x="318" y="0"/>
                    </a:moveTo>
                    <a:lnTo>
                      <a:pt x="318" y="1"/>
                    </a:lnTo>
                    <a:lnTo>
                      <a:pt x="1762" y="1"/>
                    </a:lnTo>
                    <a:lnTo>
                      <a:pt x="1762" y="2416"/>
                    </a:lnTo>
                    <a:lnTo>
                      <a:pt x="0" y="2416"/>
                    </a:lnTo>
                    <a:lnTo>
                      <a:pt x="0" y="283"/>
                    </a:lnTo>
                    <a:lnTo>
                      <a:pt x="0" y="283"/>
                    </a:lnTo>
                    <a:lnTo>
                      <a:pt x="317" y="1"/>
                    </a:lnTo>
                    <a:lnTo>
                      <a:pt x="317" y="1"/>
                    </a:lnTo>
                    <a:lnTo>
                      <a:pt x="318" y="1"/>
                    </a:lnTo>
                    <a:lnTo>
                      <a:pt x="318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2" name="Freeform 31"/>
              <p:cNvSpPr>
                <a:spLocks noEditPoints="1"/>
              </p:cNvSpPr>
              <p:nvPr/>
            </p:nvSpPr>
            <p:spPr bwMode="auto">
              <a:xfrm>
                <a:off x="-5" y="812"/>
                <a:ext cx="160" cy="160"/>
              </a:xfrm>
              <a:custGeom>
                <a:avLst/>
                <a:gdLst>
                  <a:gd name="T0" fmla="*/ 489 w 801"/>
                  <a:gd name="T1" fmla="*/ 81 h 801"/>
                  <a:gd name="T2" fmla="*/ 429 w 801"/>
                  <a:gd name="T3" fmla="*/ 109 h 801"/>
                  <a:gd name="T4" fmla="*/ 381 w 801"/>
                  <a:gd name="T5" fmla="*/ 157 h 801"/>
                  <a:gd name="T6" fmla="*/ 354 w 801"/>
                  <a:gd name="T7" fmla="*/ 216 h 801"/>
                  <a:gd name="T8" fmla="*/ 349 w 801"/>
                  <a:gd name="T9" fmla="*/ 280 h 801"/>
                  <a:gd name="T10" fmla="*/ 365 w 801"/>
                  <a:gd name="T11" fmla="*/ 342 h 801"/>
                  <a:gd name="T12" fmla="*/ 403 w 801"/>
                  <a:gd name="T13" fmla="*/ 398 h 801"/>
                  <a:gd name="T14" fmla="*/ 458 w 801"/>
                  <a:gd name="T15" fmla="*/ 436 h 801"/>
                  <a:gd name="T16" fmla="*/ 521 w 801"/>
                  <a:gd name="T17" fmla="*/ 453 h 801"/>
                  <a:gd name="T18" fmla="*/ 585 w 801"/>
                  <a:gd name="T19" fmla="*/ 447 h 801"/>
                  <a:gd name="T20" fmla="*/ 644 w 801"/>
                  <a:gd name="T21" fmla="*/ 420 h 801"/>
                  <a:gd name="T22" fmla="*/ 692 w 801"/>
                  <a:gd name="T23" fmla="*/ 372 h 801"/>
                  <a:gd name="T24" fmla="*/ 720 w 801"/>
                  <a:gd name="T25" fmla="*/ 312 h 801"/>
                  <a:gd name="T26" fmla="*/ 725 w 801"/>
                  <a:gd name="T27" fmla="*/ 248 h 801"/>
                  <a:gd name="T28" fmla="*/ 709 w 801"/>
                  <a:gd name="T29" fmla="*/ 185 h 801"/>
                  <a:gd name="T30" fmla="*/ 671 w 801"/>
                  <a:gd name="T31" fmla="*/ 130 h 801"/>
                  <a:gd name="T32" fmla="*/ 616 w 801"/>
                  <a:gd name="T33" fmla="*/ 92 h 801"/>
                  <a:gd name="T34" fmla="*/ 553 w 801"/>
                  <a:gd name="T35" fmla="*/ 76 h 801"/>
                  <a:gd name="T36" fmla="*/ 519 w 801"/>
                  <a:gd name="T37" fmla="*/ 0 h 801"/>
                  <a:gd name="T38" fmla="*/ 592 w 801"/>
                  <a:gd name="T39" fmla="*/ 6 h 801"/>
                  <a:gd name="T40" fmla="*/ 662 w 801"/>
                  <a:gd name="T41" fmla="*/ 31 h 801"/>
                  <a:gd name="T42" fmla="*/ 724 w 801"/>
                  <a:gd name="T43" fmla="*/ 77 h 801"/>
                  <a:gd name="T44" fmla="*/ 771 w 801"/>
                  <a:gd name="T45" fmla="*/ 139 h 801"/>
                  <a:gd name="T46" fmla="*/ 795 w 801"/>
                  <a:gd name="T47" fmla="*/ 209 h 801"/>
                  <a:gd name="T48" fmla="*/ 801 w 801"/>
                  <a:gd name="T49" fmla="*/ 282 h 801"/>
                  <a:gd name="T50" fmla="*/ 785 w 801"/>
                  <a:gd name="T51" fmla="*/ 355 h 801"/>
                  <a:gd name="T52" fmla="*/ 750 w 801"/>
                  <a:gd name="T53" fmla="*/ 421 h 801"/>
                  <a:gd name="T54" fmla="*/ 694 w 801"/>
                  <a:gd name="T55" fmla="*/ 476 h 801"/>
                  <a:gd name="T56" fmla="*/ 628 w 801"/>
                  <a:gd name="T57" fmla="*/ 513 h 801"/>
                  <a:gd name="T58" fmla="*/ 554 w 801"/>
                  <a:gd name="T59" fmla="*/ 528 h 801"/>
                  <a:gd name="T60" fmla="*/ 481 w 801"/>
                  <a:gd name="T61" fmla="*/ 523 h 801"/>
                  <a:gd name="T62" fmla="*/ 411 w 801"/>
                  <a:gd name="T63" fmla="*/ 497 h 801"/>
                  <a:gd name="T64" fmla="*/ 333 w 801"/>
                  <a:gd name="T65" fmla="*/ 522 h 801"/>
                  <a:gd name="T66" fmla="*/ 331 w 801"/>
                  <a:gd name="T67" fmla="*/ 555 h 801"/>
                  <a:gd name="T68" fmla="*/ 313 w 801"/>
                  <a:gd name="T69" fmla="*/ 584 h 801"/>
                  <a:gd name="T70" fmla="*/ 102 w 801"/>
                  <a:gd name="T71" fmla="*/ 792 h 801"/>
                  <a:gd name="T72" fmla="*/ 68 w 801"/>
                  <a:gd name="T73" fmla="*/ 801 h 801"/>
                  <a:gd name="T74" fmla="*/ 35 w 801"/>
                  <a:gd name="T75" fmla="*/ 792 h 801"/>
                  <a:gd name="T76" fmla="*/ 9 w 801"/>
                  <a:gd name="T77" fmla="*/ 766 h 801"/>
                  <a:gd name="T78" fmla="*/ 0 w 801"/>
                  <a:gd name="T79" fmla="*/ 733 h 801"/>
                  <a:gd name="T80" fmla="*/ 9 w 801"/>
                  <a:gd name="T81" fmla="*/ 698 h 801"/>
                  <a:gd name="T82" fmla="*/ 216 w 801"/>
                  <a:gd name="T83" fmla="*/ 487 h 801"/>
                  <a:gd name="T84" fmla="*/ 246 w 801"/>
                  <a:gd name="T85" fmla="*/ 470 h 801"/>
                  <a:gd name="T86" fmla="*/ 279 w 801"/>
                  <a:gd name="T87" fmla="*/ 469 h 801"/>
                  <a:gd name="T88" fmla="*/ 304 w 801"/>
                  <a:gd name="T89" fmla="*/ 390 h 801"/>
                  <a:gd name="T90" fmla="*/ 278 w 801"/>
                  <a:gd name="T91" fmla="*/ 320 h 801"/>
                  <a:gd name="T92" fmla="*/ 273 w 801"/>
                  <a:gd name="T93" fmla="*/ 247 h 801"/>
                  <a:gd name="T94" fmla="*/ 288 w 801"/>
                  <a:gd name="T95" fmla="*/ 173 h 801"/>
                  <a:gd name="T96" fmla="*/ 325 w 801"/>
                  <a:gd name="T97" fmla="*/ 107 h 801"/>
                  <a:gd name="T98" fmla="*/ 380 w 801"/>
                  <a:gd name="T99" fmla="*/ 52 h 801"/>
                  <a:gd name="T100" fmla="*/ 446 w 801"/>
                  <a:gd name="T101" fmla="*/ 16 h 801"/>
                  <a:gd name="T102" fmla="*/ 519 w 801"/>
                  <a:gd name="T103" fmla="*/ 0 h 8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01" h="801">
                    <a:moveTo>
                      <a:pt x="521" y="76"/>
                    </a:moveTo>
                    <a:lnTo>
                      <a:pt x="489" y="81"/>
                    </a:lnTo>
                    <a:lnTo>
                      <a:pt x="458" y="92"/>
                    </a:lnTo>
                    <a:lnTo>
                      <a:pt x="429" y="109"/>
                    </a:lnTo>
                    <a:lnTo>
                      <a:pt x="403" y="130"/>
                    </a:lnTo>
                    <a:lnTo>
                      <a:pt x="381" y="157"/>
                    </a:lnTo>
                    <a:lnTo>
                      <a:pt x="365" y="185"/>
                    </a:lnTo>
                    <a:lnTo>
                      <a:pt x="354" y="216"/>
                    </a:lnTo>
                    <a:lnTo>
                      <a:pt x="349" y="248"/>
                    </a:lnTo>
                    <a:lnTo>
                      <a:pt x="349" y="280"/>
                    </a:lnTo>
                    <a:lnTo>
                      <a:pt x="354" y="312"/>
                    </a:lnTo>
                    <a:lnTo>
                      <a:pt x="365" y="342"/>
                    </a:lnTo>
                    <a:lnTo>
                      <a:pt x="381" y="372"/>
                    </a:lnTo>
                    <a:lnTo>
                      <a:pt x="403" y="398"/>
                    </a:lnTo>
                    <a:lnTo>
                      <a:pt x="429" y="420"/>
                    </a:lnTo>
                    <a:lnTo>
                      <a:pt x="458" y="436"/>
                    </a:lnTo>
                    <a:lnTo>
                      <a:pt x="489" y="447"/>
                    </a:lnTo>
                    <a:lnTo>
                      <a:pt x="521" y="453"/>
                    </a:lnTo>
                    <a:lnTo>
                      <a:pt x="553" y="453"/>
                    </a:lnTo>
                    <a:lnTo>
                      <a:pt x="585" y="447"/>
                    </a:lnTo>
                    <a:lnTo>
                      <a:pt x="616" y="436"/>
                    </a:lnTo>
                    <a:lnTo>
                      <a:pt x="644" y="420"/>
                    </a:lnTo>
                    <a:lnTo>
                      <a:pt x="671" y="398"/>
                    </a:lnTo>
                    <a:lnTo>
                      <a:pt x="692" y="372"/>
                    </a:lnTo>
                    <a:lnTo>
                      <a:pt x="709" y="342"/>
                    </a:lnTo>
                    <a:lnTo>
                      <a:pt x="720" y="312"/>
                    </a:lnTo>
                    <a:lnTo>
                      <a:pt x="725" y="280"/>
                    </a:lnTo>
                    <a:lnTo>
                      <a:pt x="725" y="248"/>
                    </a:lnTo>
                    <a:lnTo>
                      <a:pt x="720" y="216"/>
                    </a:lnTo>
                    <a:lnTo>
                      <a:pt x="709" y="185"/>
                    </a:lnTo>
                    <a:lnTo>
                      <a:pt x="692" y="157"/>
                    </a:lnTo>
                    <a:lnTo>
                      <a:pt x="671" y="130"/>
                    </a:lnTo>
                    <a:lnTo>
                      <a:pt x="644" y="109"/>
                    </a:lnTo>
                    <a:lnTo>
                      <a:pt x="616" y="92"/>
                    </a:lnTo>
                    <a:lnTo>
                      <a:pt x="585" y="81"/>
                    </a:lnTo>
                    <a:lnTo>
                      <a:pt x="553" y="76"/>
                    </a:lnTo>
                    <a:lnTo>
                      <a:pt x="521" y="76"/>
                    </a:lnTo>
                    <a:close/>
                    <a:moveTo>
                      <a:pt x="519" y="0"/>
                    </a:moveTo>
                    <a:lnTo>
                      <a:pt x="556" y="0"/>
                    </a:lnTo>
                    <a:lnTo>
                      <a:pt x="592" y="6"/>
                    </a:lnTo>
                    <a:lnTo>
                      <a:pt x="628" y="16"/>
                    </a:lnTo>
                    <a:lnTo>
                      <a:pt x="662" y="31"/>
                    </a:lnTo>
                    <a:lnTo>
                      <a:pt x="694" y="52"/>
                    </a:lnTo>
                    <a:lnTo>
                      <a:pt x="724" y="77"/>
                    </a:lnTo>
                    <a:lnTo>
                      <a:pt x="750" y="107"/>
                    </a:lnTo>
                    <a:lnTo>
                      <a:pt x="771" y="139"/>
                    </a:lnTo>
                    <a:lnTo>
                      <a:pt x="785" y="173"/>
                    </a:lnTo>
                    <a:lnTo>
                      <a:pt x="795" y="209"/>
                    </a:lnTo>
                    <a:lnTo>
                      <a:pt x="801" y="245"/>
                    </a:lnTo>
                    <a:lnTo>
                      <a:pt x="801" y="282"/>
                    </a:lnTo>
                    <a:lnTo>
                      <a:pt x="795" y="319"/>
                    </a:lnTo>
                    <a:lnTo>
                      <a:pt x="785" y="355"/>
                    </a:lnTo>
                    <a:lnTo>
                      <a:pt x="771" y="389"/>
                    </a:lnTo>
                    <a:lnTo>
                      <a:pt x="750" y="421"/>
                    </a:lnTo>
                    <a:lnTo>
                      <a:pt x="724" y="450"/>
                    </a:lnTo>
                    <a:lnTo>
                      <a:pt x="694" y="476"/>
                    </a:lnTo>
                    <a:lnTo>
                      <a:pt x="662" y="497"/>
                    </a:lnTo>
                    <a:lnTo>
                      <a:pt x="628" y="513"/>
                    </a:lnTo>
                    <a:lnTo>
                      <a:pt x="591" y="523"/>
                    </a:lnTo>
                    <a:lnTo>
                      <a:pt x="554" y="528"/>
                    </a:lnTo>
                    <a:lnTo>
                      <a:pt x="517" y="528"/>
                    </a:lnTo>
                    <a:lnTo>
                      <a:pt x="481" y="523"/>
                    </a:lnTo>
                    <a:lnTo>
                      <a:pt x="445" y="512"/>
                    </a:lnTo>
                    <a:lnTo>
                      <a:pt x="411" y="497"/>
                    </a:lnTo>
                    <a:lnTo>
                      <a:pt x="379" y="476"/>
                    </a:lnTo>
                    <a:lnTo>
                      <a:pt x="333" y="522"/>
                    </a:lnTo>
                    <a:lnTo>
                      <a:pt x="334" y="538"/>
                    </a:lnTo>
                    <a:lnTo>
                      <a:pt x="331" y="555"/>
                    </a:lnTo>
                    <a:lnTo>
                      <a:pt x="325" y="569"/>
                    </a:lnTo>
                    <a:lnTo>
                      <a:pt x="313" y="584"/>
                    </a:lnTo>
                    <a:lnTo>
                      <a:pt x="117" y="781"/>
                    </a:lnTo>
                    <a:lnTo>
                      <a:pt x="102" y="792"/>
                    </a:lnTo>
                    <a:lnTo>
                      <a:pt x="85" y="799"/>
                    </a:lnTo>
                    <a:lnTo>
                      <a:pt x="68" y="801"/>
                    </a:lnTo>
                    <a:lnTo>
                      <a:pt x="51" y="799"/>
                    </a:lnTo>
                    <a:lnTo>
                      <a:pt x="35" y="792"/>
                    </a:lnTo>
                    <a:lnTo>
                      <a:pt x="20" y="781"/>
                    </a:lnTo>
                    <a:lnTo>
                      <a:pt x="9" y="766"/>
                    </a:lnTo>
                    <a:lnTo>
                      <a:pt x="1" y="750"/>
                    </a:lnTo>
                    <a:lnTo>
                      <a:pt x="0" y="733"/>
                    </a:lnTo>
                    <a:lnTo>
                      <a:pt x="1" y="715"/>
                    </a:lnTo>
                    <a:lnTo>
                      <a:pt x="9" y="698"/>
                    </a:lnTo>
                    <a:lnTo>
                      <a:pt x="20" y="684"/>
                    </a:lnTo>
                    <a:lnTo>
                      <a:pt x="216" y="487"/>
                    </a:lnTo>
                    <a:lnTo>
                      <a:pt x="231" y="476"/>
                    </a:lnTo>
                    <a:lnTo>
                      <a:pt x="246" y="470"/>
                    </a:lnTo>
                    <a:lnTo>
                      <a:pt x="263" y="466"/>
                    </a:lnTo>
                    <a:lnTo>
                      <a:pt x="279" y="469"/>
                    </a:lnTo>
                    <a:lnTo>
                      <a:pt x="325" y="422"/>
                    </a:lnTo>
                    <a:lnTo>
                      <a:pt x="304" y="390"/>
                    </a:lnTo>
                    <a:lnTo>
                      <a:pt x="289" y="356"/>
                    </a:lnTo>
                    <a:lnTo>
                      <a:pt x="278" y="320"/>
                    </a:lnTo>
                    <a:lnTo>
                      <a:pt x="273" y="283"/>
                    </a:lnTo>
                    <a:lnTo>
                      <a:pt x="273" y="247"/>
                    </a:lnTo>
                    <a:lnTo>
                      <a:pt x="278" y="210"/>
                    </a:lnTo>
                    <a:lnTo>
                      <a:pt x="288" y="173"/>
                    </a:lnTo>
                    <a:lnTo>
                      <a:pt x="304" y="139"/>
                    </a:lnTo>
                    <a:lnTo>
                      <a:pt x="325" y="107"/>
                    </a:lnTo>
                    <a:lnTo>
                      <a:pt x="350" y="77"/>
                    </a:lnTo>
                    <a:lnTo>
                      <a:pt x="380" y="52"/>
                    </a:lnTo>
                    <a:lnTo>
                      <a:pt x="412" y="31"/>
                    </a:lnTo>
                    <a:lnTo>
                      <a:pt x="446" y="16"/>
                    </a:lnTo>
                    <a:lnTo>
                      <a:pt x="482" y="6"/>
                    </a:lnTo>
                    <a:lnTo>
                      <a:pt x="519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3" name="Rectangle 32"/>
              <p:cNvSpPr>
                <a:spLocks noChangeArrowheads="1"/>
              </p:cNvSpPr>
              <p:nvPr/>
            </p:nvSpPr>
            <p:spPr bwMode="auto">
              <a:xfrm>
                <a:off x="206" y="795"/>
                <a:ext cx="20" cy="195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64" name="Freeform 33"/>
              <p:cNvSpPr>
                <a:spLocks/>
              </p:cNvSpPr>
              <p:nvPr/>
            </p:nvSpPr>
            <p:spPr bwMode="auto">
              <a:xfrm>
                <a:off x="164" y="827"/>
                <a:ext cx="20" cy="163"/>
              </a:xfrm>
              <a:custGeom>
                <a:avLst/>
                <a:gdLst>
                  <a:gd name="T0" fmla="*/ 0 w 101"/>
                  <a:gd name="T1" fmla="*/ 0 h 815"/>
                  <a:gd name="T2" fmla="*/ 101 w 101"/>
                  <a:gd name="T3" fmla="*/ 0 h 815"/>
                  <a:gd name="T4" fmla="*/ 101 w 101"/>
                  <a:gd name="T5" fmla="*/ 815 h 815"/>
                  <a:gd name="T6" fmla="*/ 0 w 101"/>
                  <a:gd name="T7" fmla="*/ 815 h 815"/>
                  <a:gd name="T8" fmla="*/ 0 w 101"/>
                  <a:gd name="T9" fmla="*/ 275 h 815"/>
                  <a:gd name="T10" fmla="*/ 8 w 101"/>
                  <a:gd name="T11" fmla="*/ 236 h 815"/>
                  <a:gd name="T12" fmla="*/ 10 w 101"/>
                  <a:gd name="T13" fmla="*/ 197 h 815"/>
                  <a:gd name="T14" fmla="*/ 8 w 101"/>
                  <a:gd name="T15" fmla="*/ 156 h 815"/>
                  <a:gd name="T16" fmla="*/ 0 w 101"/>
                  <a:gd name="T17" fmla="*/ 117 h 815"/>
                  <a:gd name="T18" fmla="*/ 0 w 101"/>
                  <a:gd name="T19" fmla="*/ 0 h 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1" h="815">
                    <a:moveTo>
                      <a:pt x="0" y="0"/>
                    </a:moveTo>
                    <a:lnTo>
                      <a:pt x="101" y="0"/>
                    </a:lnTo>
                    <a:lnTo>
                      <a:pt x="101" y="815"/>
                    </a:lnTo>
                    <a:lnTo>
                      <a:pt x="0" y="815"/>
                    </a:lnTo>
                    <a:lnTo>
                      <a:pt x="0" y="275"/>
                    </a:lnTo>
                    <a:lnTo>
                      <a:pt x="8" y="236"/>
                    </a:lnTo>
                    <a:lnTo>
                      <a:pt x="10" y="197"/>
                    </a:lnTo>
                    <a:lnTo>
                      <a:pt x="8" y="156"/>
                    </a:lnTo>
                    <a:lnTo>
                      <a:pt x="0" y="11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5" name="Freeform 34"/>
              <p:cNvSpPr>
                <a:spLocks/>
              </p:cNvSpPr>
              <p:nvPr/>
            </p:nvSpPr>
            <p:spPr bwMode="auto">
              <a:xfrm>
                <a:off x="120" y="917"/>
                <a:ext cx="21" cy="73"/>
              </a:xfrm>
              <a:custGeom>
                <a:avLst/>
                <a:gdLst>
                  <a:gd name="T0" fmla="*/ 101 w 101"/>
                  <a:gd name="T1" fmla="*/ 0 h 364"/>
                  <a:gd name="T2" fmla="*/ 101 w 101"/>
                  <a:gd name="T3" fmla="*/ 364 h 364"/>
                  <a:gd name="T4" fmla="*/ 0 w 101"/>
                  <a:gd name="T5" fmla="*/ 364 h 364"/>
                  <a:gd name="T6" fmla="*/ 0 w 101"/>
                  <a:gd name="T7" fmla="*/ 51 h 364"/>
                  <a:gd name="T8" fmla="*/ 35 w 101"/>
                  <a:gd name="T9" fmla="*/ 38 h 364"/>
                  <a:gd name="T10" fmla="*/ 69 w 101"/>
                  <a:gd name="T11" fmla="*/ 21 h 364"/>
                  <a:gd name="T12" fmla="*/ 101 w 101"/>
                  <a:gd name="T13" fmla="*/ 0 h 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1" h="364">
                    <a:moveTo>
                      <a:pt x="101" y="0"/>
                    </a:moveTo>
                    <a:lnTo>
                      <a:pt x="101" y="364"/>
                    </a:lnTo>
                    <a:lnTo>
                      <a:pt x="0" y="364"/>
                    </a:lnTo>
                    <a:lnTo>
                      <a:pt x="0" y="51"/>
                    </a:lnTo>
                    <a:lnTo>
                      <a:pt x="35" y="38"/>
                    </a:lnTo>
                    <a:lnTo>
                      <a:pt x="69" y="21"/>
                    </a:lnTo>
                    <a:lnTo>
                      <a:pt x="10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6" name="Freeform 35"/>
              <p:cNvSpPr>
                <a:spLocks/>
              </p:cNvSpPr>
              <p:nvPr/>
            </p:nvSpPr>
            <p:spPr bwMode="auto">
              <a:xfrm>
                <a:off x="75" y="927"/>
                <a:ext cx="20" cy="63"/>
              </a:xfrm>
              <a:custGeom>
                <a:avLst/>
                <a:gdLst>
                  <a:gd name="T0" fmla="*/ 0 w 100"/>
                  <a:gd name="T1" fmla="*/ 0 h 313"/>
                  <a:gd name="T2" fmla="*/ 46 w 100"/>
                  <a:gd name="T3" fmla="*/ 0 h 313"/>
                  <a:gd name="T4" fmla="*/ 73 w 100"/>
                  <a:gd name="T5" fmla="*/ 6 h 313"/>
                  <a:gd name="T6" fmla="*/ 100 w 100"/>
                  <a:gd name="T7" fmla="*/ 11 h 313"/>
                  <a:gd name="T8" fmla="*/ 100 w 100"/>
                  <a:gd name="T9" fmla="*/ 313 h 313"/>
                  <a:gd name="T10" fmla="*/ 0 w 100"/>
                  <a:gd name="T11" fmla="*/ 313 h 313"/>
                  <a:gd name="T12" fmla="*/ 0 w 100"/>
                  <a:gd name="T13" fmla="*/ 0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0" h="313">
                    <a:moveTo>
                      <a:pt x="0" y="0"/>
                    </a:moveTo>
                    <a:lnTo>
                      <a:pt x="46" y="0"/>
                    </a:lnTo>
                    <a:lnTo>
                      <a:pt x="73" y="6"/>
                    </a:lnTo>
                    <a:lnTo>
                      <a:pt x="100" y="11"/>
                    </a:lnTo>
                    <a:lnTo>
                      <a:pt x="100" y="313"/>
                    </a:lnTo>
                    <a:lnTo>
                      <a:pt x="0" y="31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7" name="Freeform 36"/>
              <p:cNvSpPr>
                <a:spLocks/>
              </p:cNvSpPr>
              <p:nvPr/>
            </p:nvSpPr>
            <p:spPr bwMode="auto">
              <a:xfrm>
                <a:off x="29" y="958"/>
                <a:ext cx="20" cy="32"/>
              </a:xfrm>
              <a:custGeom>
                <a:avLst/>
                <a:gdLst>
                  <a:gd name="T0" fmla="*/ 76 w 101"/>
                  <a:gd name="T1" fmla="*/ 0 h 157"/>
                  <a:gd name="T2" fmla="*/ 101 w 101"/>
                  <a:gd name="T3" fmla="*/ 0 h 157"/>
                  <a:gd name="T4" fmla="*/ 101 w 101"/>
                  <a:gd name="T5" fmla="*/ 157 h 157"/>
                  <a:gd name="T6" fmla="*/ 0 w 101"/>
                  <a:gd name="T7" fmla="*/ 157 h 157"/>
                  <a:gd name="T8" fmla="*/ 0 w 101"/>
                  <a:gd name="T9" fmla="*/ 78 h 157"/>
                  <a:gd name="T10" fmla="*/ 76 w 101"/>
                  <a:gd name="T11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1" h="157">
                    <a:moveTo>
                      <a:pt x="76" y="0"/>
                    </a:moveTo>
                    <a:lnTo>
                      <a:pt x="101" y="0"/>
                    </a:lnTo>
                    <a:lnTo>
                      <a:pt x="101" y="157"/>
                    </a:lnTo>
                    <a:lnTo>
                      <a:pt x="0" y="157"/>
                    </a:lnTo>
                    <a:lnTo>
                      <a:pt x="0" y="78"/>
                    </a:lnTo>
                    <a:lnTo>
                      <a:pt x="7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8" name="Freeform 37"/>
              <p:cNvSpPr>
                <a:spLocks/>
              </p:cNvSpPr>
              <p:nvPr/>
            </p:nvSpPr>
            <p:spPr bwMode="auto">
              <a:xfrm>
                <a:off x="-244" y="326"/>
                <a:ext cx="164" cy="165"/>
              </a:xfrm>
              <a:custGeom>
                <a:avLst/>
                <a:gdLst>
                  <a:gd name="T0" fmla="*/ 411 w 823"/>
                  <a:gd name="T1" fmla="*/ 0 h 822"/>
                  <a:gd name="T2" fmla="*/ 468 w 823"/>
                  <a:gd name="T3" fmla="*/ 4 h 822"/>
                  <a:gd name="T4" fmla="*/ 520 w 823"/>
                  <a:gd name="T5" fmla="*/ 15 h 822"/>
                  <a:gd name="T6" fmla="*/ 572 w 823"/>
                  <a:gd name="T7" fmla="*/ 32 h 822"/>
                  <a:gd name="T8" fmla="*/ 619 w 823"/>
                  <a:gd name="T9" fmla="*/ 55 h 822"/>
                  <a:gd name="T10" fmla="*/ 663 w 823"/>
                  <a:gd name="T11" fmla="*/ 86 h 822"/>
                  <a:gd name="T12" fmla="*/ 702 w 823"/>
                  <a:gd name="T13" fmla="*/ 120 h 822"/>
                  <a:gd name="T14" fmla="*/ 738 w 823"/>
                  <a:gd name="T15" fmla="*/ 160 h 822"/>
                  <a:gd name="T16" fmla="*/ 767 w 823"/>
                  <a:gd name="T17" fmla="*/ 204 h 822"/>
                  <a:gd name="T18" fmla="*/ 791 w 823"/>
                  <a:gd name="T19" fmla="*/ 250 h 822"/>
                  <a:gd name="T20" fmla="*/ 808 w 823"/>
                  <a:gd name="T21" fmla="*/ 302 h 822"/>
                  <a:gd name="T22" fmla="*/ 819 w 823"/>
                  <a:gd name="T23" fmla="*/ 355 h 822"/>
                  <a:gd name="T24" fmla="*/ 823 w 823"/>
                  <a:gd name="T25" fmla="*/ 411 h 822"/>
                  <a:gd name="T26" fmla="*/ 819 w 823"/>
                  <a:gd name="T27" fmla="*/ 466 h 822"/>
                  <a:gd name="T28" fmla="*/ 808 w 823"/>
                  <a:gd name="T29" fmla="*/ 520 h 822"/>
                  <a:gd name="T30" fmla="*/ 791 w 823"/>
                  <a:gd name="T31" fmla="*/ 571 h 822"/>
                  <a:gd name="T32" fmla="*/ 767 w 823"/>
                  <a:gd name="T33" fmla="*/ 619 h 822"/>
                  <a:gd name="T34" fmla="*/ 738 w 823"/>
                  <a:gd name="T35" fmla="*/ 663 h 822"/>
                  <a:gd name="T36" fmla="*/ 702 w 823"/>
                  <a:gd name="T37" fmla="*/ 702 h 822"/>
                  <a:gd name="T38" fmla="*/ 663 w 823"/>
                  <a:gd name="T39" fmla="*/ 736 h 822"/>
                  <a:gd name="T40" fmla="*/ 619 w 823"/>
                  <a:gd name="T41" fmla="*/ 766 h 822"/>
                  <a:gd name="T42" fmla="*/ 572 w 823"/>
                  <a:gd name="T43" fmla="*/ 790 h 822"/>
                  <a:gd name="T44" fmla="*/ 520 w 823"/>
                  <a:gd name="T45" fmla="*/ 808 h 822"/>
                  <a:gd name="T46" fmla="*/ 468 w 823"/>
                  <a:gd name="T47" fmla="*/ 819 h 822"/>
                  <a:gd name="T48" fmla="*/ 411 w 823"/>
                  <a:gd name="T49" fmla="*/ 822 h 822"/>
                  <a:gd name="T50" fmla="*/ 356 w 823"/>
                  <a:gd name="T51" fmla="*/ 819 h 822"/>
                  <a:gd name="T52" fmla="*/ 302 w 823"/>
                  <a:gd name="T53" fmla="*/ 808 h 822"/>
                  <a:gd name="T54" fmla="*/ 251 w 823"/>
                  <a:gd name="T55" fmla="*/ 790 h 822"/>
                  <a:gd name="T56" fmla="*/ 203 w 823"/>
                  <a:gd name="T57" fmla="*/ 766 h 822"/>
                  <a:gd name="T58" fmla="*/ 159 w 823"/>
                  <a:gd name="T59" fmla="*/ 736 h 822"/>
                  <a:gd name="T60" fmla="*/ 120 w 823"/>
                  <a:gd name="T61" fmla="*/ 702 h 822"/>
                  <a:gd name="T62" fmla="*/ 86 w 823"/>
                  <a:gd name="T63" fmla="*/ 663 h 822"/>
                  <a:gd name="T64" fmla="*/ 56 w 823"/>
                  <a:gd name="T65" fmla="*/ 619 h 822"/>
                  <a:gd name="T66" fmla="*/ 31 w 823"/>
                  <a:gd name="T67" fmla="*/ 571 h 822"/>
                  <a:gd name="T68" fmla="*/ 14 w 823"/>
                  <a:gd name="T69" fmla="*/ 520 h 822"/>
                  <a:gd name="T70" fmla="*/ 3 w 823"/>
                  <a:gd name="T71" fmla="*/ 466 h 822"/>
                  <a:gd name="T72" fmla="*/ 0 w 823"/>
                  <a:gd name="T73" fmla="*/ 411 h 822"/>
                  <a:gd name="T74" fmla="*/ 3 w 823"/>
                  <a:gd name="T75" fmla="*/ 355 h 822"/>
                  <a:gd name="T76" fmla="*/ 14 w 823"/>
                  <a:gd name="T77" fmla="*/ 302 h 822"/>
                  <a:gd name="T78" fmla="*/ 31 w 823"/>
                  <a:gd name="T79" fmla="*/ 250 h 822"/>
                  <a:gd name="T80" fmla="*/ 56 w 823"/>
                  <a:gd name="T81" fmla="*/ 204 h 822"/>
                  <a:gd name="T82" fmla="*/ 86 w 823"/>
                  <a:gd name="T83" fmla="*/ 160 h 822"/>
                  <a:gd name="T84" fmla="*/ 120 w 823"/>
                  <a:gd name="T85" fmla="*/ 120 h 822"/>
                  <a:gd name="T86" fmla="*/ 159 w 823"/>
                  <a:gd name="T87" fmla="*/ 86 h 822"/>
                  <a:gd name="T88" fmla="*/ 203 w 823"/>
                  <a:gd name="T89" fmla="*/ 55 h 822"/>
                  <a:gd name="T90" fmla="*/ 251 w 823"/>
                  <a:gd name="T91" fmla="*/ 32 h 822"/>
                  <a:gd name="T92" fmla="*/ 302 w 823"/>
                  <a:gd name="T93" fmla="*/ 15 h 822"/>
                  <a:gd name="T94" fmla="*/ 356 w 823"/>
                  <a:gd name="T95" fmla="*/ 4 h 822"/>
                  <a:gd name="T96" fmla="*/ 411 w 823"/>
                  <a:gd name="T97" fmla="*/ 0 h 8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23" h="822">
                    <a:moveTo>
                      <a:pt x="411" y="0"/>
                    </a:moveTo>
                    <a:lnTo>
                      <a:pt x="468" y="4"/>
                    </a:lnTo>
                    <a:lnTo>
                      <a:pt x="520" y="15"/>
                    </a:lnTo>
                    <a:lnTo>
                      <a:pt x="572" y="32"/>
                    </a:lnTo>
                    <a:lnTo>
                      <a:pt x="619" y="55"/>
                    </a:lnTo>
                    <a:lnTo>
                      <a:pt x="663" y="86"/>
                    </a:lnTo>
                    <a:lnTo>
                      <a:pt x="702" y="120"/>
                    </a:lnTo>
                    <a:lnTo>
                      <a:pt x="738" y="160"/>
                    </a:lnTo>
                    <a:lnTo>
                      <a:pt x="767" y="204"/>
                    </a:lnTo>
                    <a:lnTo>
                      <a:pt x="791" y="250"/>
                    </a:lnTo>
                    <a:lnTo>
                      <a:pt x="808" y="302"/>
                    </a:lnTo>
                    <a:lnTo>
                      <a:pt x="819" y="355"/>
                    </a:lnTo>
                    <a:lnTo>
                      <a:pt x="823" y="411"/>
                    </a:lnTo>
                    <a:lnTo>
                      <a:pt x="819" y="466"/>
                    </a:lnTo>
                    <a:lnTo>
                      <a:pt x="808" y="520"/>
                    </a:lnTo>
                    <a:lnTo>
                      <a:pt x="791" y="571"/>
                    </a:lnTo>
                    <a:lnTo>
                      <a:pt x="767" y="619"/>
                    </a:lnTo>
                    <a:lnTo>
                      <a:pt x="738" y="663"/>
                    </a:lnTo>
                    <a:lnTo>
                      <a:pt x="702" y="702"/>
                    </a:lnTo>
                    <a:lnTo>
                      <a:pt x="663" y="736"/>
                    </a:lnTo>
                    <a:lnTo>
                      <a:pt x="619" y="766"/>
                    </a:lnTo>
                    <a:lnTo>
                      <a:pt x="572" y="790"/>
                    </a:lnTo>
                    <a:lnTo>
                      <a:pt x="520" y="808"/>
                    </a:lnTo>
                    <a:lnTo>
                      <a:pt x="468" y="819"/>
                    </a:lnTo>
                    <a:lnTo>
                      <a:pt x="411" y="822"/>
                    </a:lnTo>
                    <a:lnTo>
                      <a:pt x="356" y="819"/>
                    </a:lnTo>
                    <a:lnTo>
                      <a:pt x="302" y="808"/>
                    </a:lnTo>
                    <a:lnTo>
                      <a:pt x="251" y="790"/>
                    </a:lnTo>
                    <a:lnTo>
                      <a:pt x="203" y="766"/>
                    </a:lnTo>
                    <a:lnTo>
                      <a:pt x="159" y="736"/>
                    </a:lnTo>
                    <a:lnTo>
                      <a:pt x="120" y="702"/>
                    </a:lnTo>
                    <a:lnTo>
                      <a:pt x="86" y="663"/>
                    </a:lnTo>
                    <a:lnTo>
                      <a:pt x="56" y="619"/>
                    </a:lnTo>
                    <a:lnTo>
                      <a:pt x="31" y="571"/>
                    </a:lnTo>
                    <a:lnTo>
                      <a:pt x="14" y="520"/>
                    </a:lnTo>
                    <a:lnTo>
                      <a:pt x="3" y="466"/>
                    </a:lnTo>
                    <a:lnTo>
                      <a:pt x="0" y="411"/>
                    </a:lnTo>
                    <a:lnTo>
                      <a:pt x="3" y="355"/>
                    </a:lnTo>
                    <a:lnTo>
                      <a:pt x="14" y="302"/>
                    </a:lnTo>
                    <a:lnTo>
                      <a:pt x="31" y="250"/>
                    </a:lnTo>
                    <a:lnTo>
                      <a:pt x="56" y="204"/>
                    </a:lnTo>
                    <a:lnTo>
                      <a:pt x="86" y="160"/>
                    </a:lnTo>
                    <a:lnTo>
                      <a:pt x="120" y="120"/>
                    </a:lnTo>
                    <a:lnTo>
                      <a:pt x="159" y="86"/>
                    </a:lnTo>
                    <a:lnTo>
                      <a:pt x="203" y="55"/>
                    </a:lnTo>
                    <a:lnTo>
                      <a:pt x="251" y="32"/>
                    </a:lnTo>
                    <a:lnTo>
                      <a:pt x="302" y="15"/>
                    </a:lnTo>
                    <a:lnTo>
                      <a:pt x="356" y="4"/>
                    </a:lnTo>
                    <a:lnTo>
                      <a:pt x="411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89" name="Freeform 38"/>
              <p:cNvSpPr>
                <a:spLocks noEditPoints="1"/>
              </p:cNvSpPr>
              <p:nvPr/>
            </p:nvSpPr>
            <p:spPr bwMode="auto">
              <a:xfrm>
                <a:off x="-319" y="499"/>
                <a:ext cx="394" cy="626"/>
              </a:xfrm>
              <a:custGeom>
                <a:avLst/>
                <a:gdLst>
                  <a:gd name="T0" fmla="*/ 803 w 1972"/>
                  <a:gd name="T1" fmla="*/ 918 h 3129"/>
                  <a:gd name="T2" fmla="*/ 805 w 1972"/>
                  <a:gd name="T3" fmla="*/ 119 h 3129"/>
                  <a:gd name="T4" fmla="*/ 805 w 1972"/>
                  <a:gd name="T5" fmla="*/ 104 h 3129"/>
                  <a:gd name="T6" fmla="*/ 1008 w 1972"/>
                  <a:gd name="T7" fmla="*/ 39 h 3129"/>
                  <a:gd name="T8" fmla="*/ 1079 w 1972"/>
                  <a:gd name="T9" fmla="*/ 77 h 3129"/>
                  <a:gd name="T10" fmla="*/ 1193 w 1972"/>
                  <a:gd name="T11" fmla="*/ 173 h 3129"/>
                  <a:gd name="T12" fmla="*/ 1285 w 1972"/>
                  <a:gd name="T13" fmla="*/ 287 h 3129"/>
                  <a:gd name="T14" fmla="*/ 1361 w 1972"/>
                  <a:gd name="T15" fmla="*/ 402 h 3129"/>
                  <a:gd name="T16" fmla="*/ 1424 w 1972"/>
                  <a:gd name="T17" fmla="*/ 491 h 3129"/>
                  <a:gd name="T18" fmla="*/ 1481 w 1972"/>
                  <a:gd name="T19" fmla="*/ 548 h 3129"/>
                  <a:gd name="T20" fmla="*/ 1545 w 1972"/>
                  <a:gd name="T21" fmla="*/ 572 h 3129"/>
                  <a:gd name="T22" fmla="*/ 1625 w 1972"/>
                  <a:gd name="T23" fmla="*/ 559 h 3129"/>
                  <a:gd name="T24" fmla="*/ 1732 w 1972"/>
                  <a:gd name="T25" fmla="*/ 507 h 3129"/>
                  <a:gd name="T26" fmla="*/ 1823 w 1972"/>
                  <a:gd name="T27" fmla="*/ 486 h 3129"/>
                  <a:gd name="T28" fmla="*/ 1908 w 1972"/>
                  <a:gd name="T29" fmla="*/ 516 h 3129"/>
                  <a:gd name="T30" fmla="*/ 1962 w 1972"/>
                  <a:gd name="T31" fmla="*/ 589 h 3129"/>
                  <a:gd name="T32" fmla="*/ 1619 w 1972"/>
                  <a:gd name="T33" fmla="*/ 640 h 3129"/>
                  <a:gd name="T34" fmla="*/ 1368 w 1972"/>
                  <a:gd name="T35" fmla="*/ 849 h 3129"/>
                  <a:gd name="T36" fmla="*/ 1323 w 1972"/>
                  <a:gd name="T37" fmla="*/ 822 h 3129"/>
                  <a:gd name="T38" fmla="*/ 1263 w 1972"/>
                  <a:gd name="T39" fmla="*/ 778 h 3129"/>
                  <a:gd name="T40" fmla="*/ 1226 w 1972"/>
                  <a:gd name="T41" fmla="*/ 1266 h 3129"/>
                  <a:gd name="T42" fmla="*/ 1203 w 1972"/>
                  <a:gd name="T43" fmla="*/ 1385 h 3129"/>
                  <a:gd name="T44" fmla="*/ 1183 w 1972"/>
                  <a:gd name="T45" fmla="*/ 2978 h 3129"/>
                  <a:gd name="T46" fmla="*/ 1131 w 1972"/>
                  <a:gd name="T47" fmla="*/ 3074 h 3129"/>
                  <a:gd name="T48" fmla="*/ 1036 w 1972"/>
                  <a:gd name="T49" fmla="*/ 3126 h 3129"/>
                  <a:gd name="T50" fmla="*/ 924 w 1972"/>
                  <a:gd name="T51" fmla="*/ 3115 h 3129"/>
                  <a:gd name="T52" fmla="*/ 840 w 1972"/>
                  <a:gd name="T53" fmla="*/ 3046 h 3129"/>
                  <a:gd name="T54" fmla="*/ 808 w 1972"/>
                  <a:gd name="T55" fmla="*/ 2940 h 3129"/>
                  <a:gd name="T56" fmla="*/ 781 w 1972"/>
                  <a:gd name="T57" fmla="*/ 1628 h 3129"/>
                  <a:gd name="T58" fmla="*/ 766 w 1972"/>
                  <a:gd name="T59" fmla="*/ 3014 h 3129"/>
                  <a:gd name="T60" fmla="*/ 699 w 1972"/>
                  <a:gd name="T61" fmla="*/ 3097 h 3129"/>
                  <a:gd name="T62" fmla="*/ 593 w 1972"/>
                  <a:gd name="T63" fmla="*/ 3129 h 3129"/>
                  <a:gd name="T64" fmla="*/ 488 w 1972"/>
                  <a:gd name="T65" fmla="*/ 3097 h 3129"/>
                  <a:gd name="T66" fmla="*/ 419 w 1972"/>
                  <a:gd name="T67" fmla="*/ 3014 h 3129"/>
                  <a:gd name="T68" fmla="*/ 404 w 1972"/>
                  <a:gd name="T69" fmla="*/ 1411 h 3129"/>
                  <a:gd name="T70" fmla="*/ 386 w 1972"/>
                  <a:gd name="T71" fmla="*/ 1308 h 3129"/>
                  <a:gd name="T72" fmla="*/ 368 w 1972"/>
                  <a:gd name="T73" fmla="*/ 671 h 3129"/>
                  <a:gd name="T74" fmla="*/ 338 w 1972"/>
                  <a:gd name="T75" fmla="*/ 794 h 3129"/>
                  <a:gd name="T76" fmla="*/ 320 w 1972"/>
                  <a:gd name="T77" fmla="*/ 952 h 3129"/>
                  <a:gd name="T78" fmla="*/ 322 w 1972"/>
                  <a:gd name="T79" fmla="*/ 1153 h 3129"/>
                  <a:gd name="T80" fmla="*/ 332 w 1972"/>
                  <a:gd name="T81" fmla="*/ 1349 h 3129"/>
                  <a:gd name="T82" fmla="*/ 296 w 1972"/>
                  <a:gd name="T83" fmla="*/ 1433 h 3129"/>
                  <a:gd name="T84" fmla="*/ 218 w 1972"/>
                  <a:gd name="T85" fmla="*/ 1484 h 3129"/>
                  <a:gd name="T86" fmla="*/ 142 w 1972"/>
                  <a:gd name="T87" fmla="*/ 1487 h 3129"/>
                  <a:gd name="T88" fmla="*/ 65 w 1972"/>
                  <a:gd name="T89" fmla="*/ 1448 h 3129"/>
                  <a:gd name="T90" fmla="*/ 19 w 1972"/>
                  <a:gd name="T91" fmla="*/ 1373 h 3129"/>
                  <a:gd name="T92" fmla="*/ 1 w 1972"/>
                  <a:gd name="T93" fmla="*/ 1146 h 3129"/>
                  <a:gd name="T94" fmla="*/ 1 w 1972"/>
                  <a:gd name="T95" fmla="*/ 972 h 3129"/>
                  <a:gd name="T96" fmla="*/ 21 w 1972"/>
                  <a:gd name="T97" fmla="*/ 753 h 3129"/>
                  <a:gd name="T98" fmla="*/ 62 w 1972"/>
                  <a:gd name="T99" fmla="*/ 577 h 3129"/>
                  <a:gd name="T100" fmla="*/ 124 w 1972"/>
                  <a:gd name="T101" fmla="*/ 437 h 3129"/>
                  <a:gd name="T102" fmla="*/ 204 w 1972"/>
                  <a:gd name="T103" fmla="*/ 324 h 3129"/>
                  <a:gd name="T104" fmla="*/ 300 w 1972"/>
                  <a:gd name="T105" fmla="*/ 232 h 3129"/>
                  <a:gd name="T106" fmla="*/ 408 w 1972"/>
                  <a:gd name="T107" fmla="*/ 153 h 3129"/>
                  <a:gd name="T108" fmla="*/ 529 w 1972"/>
                  <a:gd name="T109" fmla="*/ 77 h 3129"/>
                  <a:gd name="T110" fmla="*/ 651 w 1972"/>
                  <a:gd name="T111" fmla="*/ 16 h 3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972" h="3129">
                    <a:moveTo>
                      <a:pt x="803" y="119"/>
                    </a:moveTo>
                    <a:lnTo>
                      <a:pt x="704" y="783"/>
                    </a:lnTo>
                    <a:lnTo>
                      <a:pt x="803" y="918"/>
                    </a:lnTo>
                    <a:lnTo>
                      <a:pt x="805" y="918"/>
                    </a:lnTo>
                    <a:lnTo>
                      <a:pt x="904" y="783"/>
                    </a:lnTo>
                    <a:lnTo>
                      <a:pt x="805" y="119"/>
                    </a:lnTo>
                    <a:lnTo>
                      <a:pt x="803" y="119"/>
                    </a:lnTo>
                    <a:close/>
                    <a:moveTo>
                      <a:pt x="705" y="0"/>
                    </a:moveTo>
                    <a:lnTo>
                      <a:pt x="805" y="104"/>
                    </a:lnTo>
                    <a:lnTo>
                      <a:pt x="906" y="1"/>
                    </a:lnTo>
                    <a:lnTo>
                      <a:pt x="958" y="17"/>
                    </a:lnTo>
                    <a:lnTo>
                      <a:pt x="1008" y="39"/>
                    </a:lnTo>
                    <a:lnTo>
                      <a:pt x="1056" y="67"/>
                    </a:lnTo>
                    <a:lnTo>
                      <a:pt x="1067" y="71"/>
                    </a:lnTo>
                    <a:lnTo>
                      <a:pt x="1079" y="77"/>
                    </a:lnTo>
                    <a:lnTo>
                      <a:pt x="1119" y="105"/>
                    </a:lnTo>
                    <a:lnTo>
                      <a:pt x="1158" y="138"/>
                    </a:lnTo>
                    <a:lnTo>
                      <a:pt x="1193" y="173"/>
                    </a:lnTo>
                    <a:lnTo>
                      <a:pt x="1226" y="210"/>
                    </a:lnTo>
                    <a:lnTo>
                      <a:pt x="1255" y="248"/>
                    </a:lnTo>
                    <a:lnTo>
                      <a:pt x="1285" y="287"/>
                    </a:lnTo>
                    <a:lnTo>
                      <a:pt x="1311" y="327"/>
                    </a:lnTo>
                    <a:lnTo>
                      <a:pt x="1337" y="365"/>
                    </a:lnTo>
                    <a:lnTo>
                      <a:pt x="1361" y="402"/>
                    </a:lnTo>
                    <a:lnTo>
                      <a:pt x="1383" y="435"/>
                    </a:lnTo>
                    <a:lnTo>
                      <a:pt x="1404" y="465"/>
                    </a:lnTo>
                    <a:lnTo>
                      <a:pt x="1424" y="491"/>
                    </a:lnTo>
                    <a:lnTo>
                      <a:pt x="1443" y="514"/>
                    </a:lnTo>
                    <a:lnTo>
                      <a:pt x="1463" y="532"/>
                    </a:lnTo>
                    <a:lnTo>
                      <a:pt x="1481" y="548"/>
                    </a:lnTo>
                    <a:lnTo>
                      <a:pt x="1502" y="559"/>
                    </a:lnTo>
                    <a:lnTo>
                      <a:pt x="1523" y="568"/>
                    </a:lnTo>
                    <a:lnTo>
                      <a:pt x="1545" y="572"/>
                    </a:lnTo>
                    <a:lnTo>
                      <a:pt x="1570" y="572"/>
                    </a:lnTo>
                    <a:lnTo>
                      <a:pt x="1597" y="567"/>
                    </a:lnTo>
                    <a:lnTo>
                      <a:pt x="1625" y="559"/>
                    </a:lnTo>
                    <a:lnTo>
                      <a:pt x="1657" y="546"/>
                    </a:lnTo>
                    <a:lnTo>
                      <a:pt x="1693" y="529"/>
                    </a:lnTo>
                    <a:lnTo>
                      <a:pt x="1732" y="507"/>
                    </a:lnTo>
                    <a:lnTo>
                      <a:pt x="1760" y="494"/>
                    </a:lnTo>
                    <a:lnTo>
                      <a:pt x="1791" y="487"/>
                    </a:lnTo>
                    <a:lnTo>
                      <a:pt x="1823" y="486"/>
                    </a:lnTo>
                    <a:lnTo>
                      <a:pt x="1853" y="491"/>
                    </a:lnTo>
                    <a:lnTo>
                      <a:pt x="1882" y="500"/>
                    </a:lnTo>
                    <a:lnTo>
                      <a:pt x="1908" y="516"/>
                    </a:lnTo>
                    <a:lnTo>
                      <a:pt x="1931" y="539"/>
                    </a:lnTo>
                    <a:lnTo>
                      <a:pt x="1951" y="564"/>
                    </a:lnTo>
                    <a:lnTo>
                      <a:pt x="1962" y="589"/>
                    </a:lnTo>
                    <a:lnTo>
                      <a:pt x="1969" y="615"/>
                    </a:lnTo>
                    <a:lnTo>
                      <a:pt x="1972" y="640"/>
                    </a:lnTo>
                    <a:lnTo>
                      <a:pt x="1619" y="640"/>
                    </a:lnTo>
                    <a:lnTo>
                      <a:pt x="1380" y="855"/>
                    </a:lnTo>
                    <a:lnTo>
                      <a:pt x="1376" y="854"/>
                    </a:lnTo>
                    <a:lnTo>
                      <a:pt x="1368" y="849"/>
                    </a:lnTo>
                    <a:lnTo>
                      <a:pt x="1356" y="842"/>
                    </a:lnTo>
                    <a:lnTo>
                      <a:pt x="1341" y="833"/>
                    </a:lnTo>
                    <a:lnTo>
                      <a:pt x="1323" y="822"/>
                    </a:lnTo>
                    <a:lnTo>
                      <a:pt x="1305" y="809"/>
                    </a:lnTo>
                    <a:lnTo>
                      <a:pt x="1284" y="794"/>
                    </a:lnTo>
                    <a:lnTo>
                      <a:pt x="1263" y="778"/>
                    </a:lnTo>
                    <a:lnTo>
                      <a:pt x="1243" y="762"/>
                    </a:lnTo>
                    <a:lnTo>
                      <a:pt x="1226" y="745"/>
                    </a:lnTo>
                    <a:lnTo>
                      <a:pt x="1226" y="1266"/>
                    </a:lnTo>
                    <a:lnTo>
                      <a:pt x="1222" y="1308"/>
                    </a:lnTo>
                    <a:lnTo>
                      <a:pt x="1215" y="1349"/>
                    </a:lnTo>
                    <a:lnTo>
                      <a:pt x="1203" y="1385"/>
                    </a:lnTo>
                    <a:lnTo>
                      <a:pt x="1187" y="1421"/>
                    </a:lnTo>
                    <a:lnTo>
                      <a:pt x="1187" y="2940"/>
                    </a:lnTo>
                    <a:lnTo>
                      <a:pt x="1183" y="2978"/>
                    </a:lnTo>
                    <a:lnTo>
                      <a:pt x="1172" y="3014"/>
                    </a:lnTo>
                    <a:lnTo>
                      <a:pt x="1153" y="3046"/>
                    </a:lnTo>
                    <a:lnTo>
                      <a:pt x="1131" y="3074"/>
                    </a:lnTo>
                    <a:lnTo>
                      <a:pt x="1103" y="3097"/>
                    </a:lnTo>
                    <a:lnTo>
                      <a:pt x="1071" y="3115"/>
                    </a:lnTo>
                    <a:lnTo>
                      <a:pt x="1036" y="3126"/>
                    </a:lnTo>
                    <a:lnTo>
                      <a:pt x="997" y="3129"/>
                    </a:lnTo>
                    <a:lnTo>
                      <a:pt x="959" y="3126"/>
                    </a:lnTo>
                    <a:lnTo>
                      <a:pt x="924" y="3115"/>
                    </a:lnTo>
                    <a:lnTo>
                      <a:pt x="892" y="3097"/>
                    </a:lnTo>
                    <a:lnTo>
                      <a:pt x="863" y="3074"/>
                    </a:lnTo>
                    <a:lnTo>
                      <a:pt x="840" y="3046"/>
                    </a:lnTo>
                    <a:lnTo>
                      <a:pt x="823" y="3014"/>
                    </a:lnTo>
                    <a:lnTo>
                      <a:pt x="812" y="2978"/>
                    </a:lnTo>
                    <a:lnTo>
                      <a:pt x="808" y="2940"/>
                    </a:lnTo>
                    <a:lnTo>
                      <a:pt x="808" y="1630"/>
                    </a:lnTo>
                    <a:lnTo>
                      <a:pt x="805" y="1630"/>
                    </a:lnTo>
                    <a:lnTo>
                      <a:pt x="781" y="1628"/>
                    </a:lnTo>
                    <a:lnTo>
                      <a:pt x="781" y="2940"/>
                    </a:lnTo>
                    <a:lnTo>
                      <a:pt x="777" y="2978"/>
                    </a:lnTo>
                    <a:lnTo>
                      <a:pt x="766" y="3014"/>
                    </a:lnTo>
                    <a:lnTo>
                      <a:pt x="749" y="3046"/>
                    </a:lnTo>
                    <a:lnTo>
                      <a:pt x="726" y="3074"/>
                    </a:lnTo>
                    <a:lnTo>
                      <a:pt x="699" y="3097"/>
                    </a:lnTo>
                    <a:lnTo>
                      <a:pt x="666" y="3115"/>
                    </a:lnTo>
                    <a:lnTo>
                      <a:pt x="631" y="3126"/>
                    </a:lnTo>
                    <a:lnTo>
                      <a:pt x="593" y="3129"/>
                    </a:lnTo>
                    <a:lnTo>
                      <a:pt x="555" y="3126"/>
                    </a:lnTo>
                    <a:lnTo>
                      <a:pt x="519" y="3115"/>
                    </a:lnTo>
                    <a:lnTo>
                      <a:pt x="488" y="3097"/>
                    </a:lnTo>
                    <a:lnTo>
                      <a:pt x="459" y="3074"/>
                    </a:lnTo>
                    <a:lnTo>
                      <a:pt x="436" y="3046"/>
                    </a:lnTo>
                    <a:lnTo>
                      <a:pt x="419" y="3014"/>
                    </a:lnTo>
                    <a:lnTo>
                      <a:pt x="408" y="2978"/>
                    </a:lnTo>
                    <a:lnTo>
                      <a:pt x="404" y="2940"/>
                    </a:lnTo>
                    <a:lnTo>
                      <a:pt x="404" y="1411"/>
                    </a:lnTo>
                    <a:lnTo>
                      <a:pt x="405" y="1387"/>
                    </a:lnTo>
                    <a:lnTo>
                      <a:pt x="393" y="1349"/>
                    </a:lnTo>
                    <a:lnTo>
                      <a:pt x="386" y="1308"/>
                    </a:lnTo>
                    <a:lnTo>
                      <a:pt x="382" y="1266"/>
                    </a:lnTo>
                    <a:lnTo>
                      <a:pt x="382" y="638"/>
                    </a:lnTo>
                    <a:lnTo>
                      <a:pt x="368" y="671"/>
                    </a:lnTo>
                    <a:lnTo>
                      <a:pt x="357" y="708"/>
                    </a:lnTo>
                    <a:lnTo>
                      <a:pt x="346" y="750"/>
                    </a:lnTo>
                    <a:lnTo>
                      <a:pt x="338" y="794"/>
                    </a:lnTo>
                    <a:lnTo>
                      <a:pt x="330" y="842"/>
                    </a:lnTo>
                    <a:lnTo>
                      <a:pt x="324" y="894"/>
                    </a:lnTo>
                    <a:lnTo>
                      <a:pt x="320" y="952"/>
                    </a:lnTo>
                    <a:lnTo>
                      <a:pt x="319" y="1013"/>
                    </a:lnTo>
                    <a:lnTo>
                      <a:pt x="319" y="1081"/>
                    </a:lnTo>
                    <a:lnTo>
                      <a:pt x="322" y="1153"/>
                    </a:lnTo>
                    <a:lnTo>
                      <a:pt x="325" y="1232"/>
                    </a:lnTo>
                    <a:lnTo>
                      <a:pt x="333" y="1317"/>
                    </a:lnTo>
                    <a:lnTo>
                      <a:pt x="332" y="1349"/>
                    </a:lnTo>
                    <a:lnTo>
                      <a:pt x="325" y="1379"/>
                    </a:lnTo>
                    <a:lnTo>
                      <a:pt x="313" y="1407"/>
                    </a:lnTo>
                    <a:lnTo>
                      <a:pt x="296" y="1433"/>
                    </a:lnTo>
                    <a:lnTo>
                      <a:pt x="274" y="1454"/>
                    </a:lnTo>
                    <a:lnTo>
                      <a:pt x="248" y="1471"/>
                    </a:lnTo>
                    <a:lnTo>
                      <a:pt x="218" y="1484"/>
                    </a:lnTo>
                    <a:lnTo>
                      <a:pt x="187" y="1488"/>
                    </a:lnTo>
                    <a:lnTo>
                      <a:pt x="173" y="1490"/>
                    </a:lnTo>
                    <a:lnTo>
                      <a:pt x="142" y="1487"/>
                    </a:lnTo>
                    <a:lnTo>
                      <a:pt x="114" y="1479"/>
                    </a:lnTo>
                    <a:lnTo>
                      <a:pt x="88" y="1465"/>
                    </a:lnTo>
                    <a:lnTo>
                      <a:pt x="65" y="1448"/>
                    </a:lnTo>
                    <a:lnTo>
                      <a:pt x="45" y="1426"/>
                    </a:lnTo>
                    <a:lnTo>
                      <a:pt x="30" y="1401"/>
                    </a:lnTo>
                    <a:lnTo>
                      <a:pt x="19" y="1373"/>
                    </a:lnTo>
                    <a:lnTo>
                      <a:pt x="13" y="1344"/>
                    </a:lnTo>
                    <a:lnTo>
                      <a:pt x="6" y="1242"/>
                    </a:lnTo>
                    <a:lnTo>
                      <a:pt x="1" y="1146"/>
                    </a:lnTo>
                    <a:lnTo>
                      <a:pt x="0" y="1056"/>
                    </a:lnTo>
                    <a:lnTo>
                      <a:pt x="0" y="1055"/>
                    </a:lnTo>
                    <a:lnTo>
                      <a:pt x="1" y="972"/>
                    </a:lnTo>
                    <a:lnTo>
                      <a:pt x="5" y="893"/>
                    </a:lnTo>
                    <a:lnTo>
                      <a:pt x="11" y="821"/>
                    </a:lnTo>
                    <a:lnTo>
                      <a:pt x="21" y="753"/>
                    </a:lnTo>
                    <a:lnTo>
                      <a:pt x="32" y="689"/>
                    </a:lnTo>
                    <a:lnTo>
                      <a:pt x="46" y="632"/>
                    </a:lnTo>
                    <a:lnTo>
                      <a:pt x="62" y="577"/>
                    </a:lnTo>
                    <a:lnTo>
                      <a:pt x="81" y="526"/>
                    </a:lnTo>
                    <a:lnTo>
                      <a:pt x="102" y="480"/>
                    </a:lnTo>
                    <a:lnTo>
                      <a:pt x="124" y="437"/>
                    </a:lnTo>
                    <a:lnTo>
                      <a:pt x="148" y="396"/>
                    </a:lnTo>
                    <a:lnTo>
                      <a:pt x="175" y="358"/>
                    </a:lnTo>
                    <a:lnTo>
                      <a:pt x="204" y="324"/>
                    </a:lnTo>
                    <a:lnTo>
                      <a:pt x="234" y="291"/>
                    </a:lnTo>
                    <a:lnTo>
                      <a:pt x="266" y="260"/>
                    </a:lnTo>
                    <a:lnTo>
                      <a:pt x="300" y="232"/>
                    </a:lnTo>
                    <a:lnTo>
                      <a:pt x="334" y="203"/>
                    </a:lnTo>
                    <a:lnTo>
                      <a:pt x="370" y="178"/>
                    </a:lnTo>
                    <a:lnTo>
                      <a:pt x="408" y="153"/>
                    </a:lnTo>
                    <a:lnTo>
                      <a:pt x="446" y="127"/>
                    </a:lnTo>
                    <a:lnTo>
                      <a:pt x="486" y="104"/>
                    </a:lnTo>
                    <a:lnTo>
                      <a:pt x="529" y="77"/>
                    </a:lnTo>
                    <a:lnTo>
                      <a:pt x="550" y="67"/>
                    </a:lnTo>
                    <a:lnTo>
                      <a:pt x="599" y="39"/>
                    </a:lnTo>
                    <a:lnTo>
                      <a:pt x="651" y="16"/>
                    </a:lnTo>
                    <a:lnTo>
                      <a:pt x="704" y="0"/>
                    </a:lnTo>
                    <a:lnTo>
                      <a:pt x="705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7834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0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5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000"/>
                            </p:stCondLst>
                            <p:childTnLst>
                              <p:par>
                                <p:cTn id="5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3500"/>
                            </p:stCondLst>
                            <p:childTnLst>
                              <p:par>
                                <p:cTn id="5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0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4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0"/>
                            </p:stCondLst>
                            <p:childTnLst>
                              <p:par>
                                <p:cTn id="6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6" grpId="0" animBg="1"/>
      <p:bldP spid="5" grpId="0" animBg="1"/>
      <p:bldP spid="51" grpId="0"/>
      <p:bldP spid="58" grpId="0"/>
      <p:bldP spid="59" grpId="0"/>
      <p:bldP spid="4" grpId="0" animBg="1"/>
      <p:bldP spid="8" grpId="0" animBg="1"/>
      <p:bldP spid="71" grpId="0"/>
      <p:bldP spid="7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Numarası Yer Tutucusu 1"/>
          <p:cNvSpPr>
            <a:spLocks noGrp="1"/>
          </p:cNvSpPr>
          <p:nvPr>
            <p:ph type="sldNum" sz="quarter" idx="12"/>
          </p:nvPr>
        </p:nvSpPr>
        <p:spPr>
          <a:xfrm>
            <a:off x="6722651" y="6454595"/>
            <a:ext cx="2253431" cy="365125"/>
          </a:xfrm>
        </p:spPr>
        <p:txBody>
          <a:bodyPr/>
          <a:lstStyle/>
          <a:p>
            <a:fld id="{B1DEFA8C-F947-479F-BE07-76B6B3F80BF1}" type="slidenum">
              <a:rPr lang="tr-TR" sz="1600" b="1" smtClean="0">
                <a:solidFill>
                  <a:schemeClr val="tx1"/>
                </a:solidFill>
              </a:rPr>
              <a:pPr/>
              <a:t>8</a:t>
            </a:fld>
            <a:endParaRPr lang="tr-TR" b="1" dirty="0">
              <a:solidFill>
                <a:schemeClr val="tx1"/>
              </a:solidFill>
            </a:endParaRPr>
          </a:p>
        </p:txBody>
      </p:sp>
      <p:sp>
        <p:nvSpPr>
          <p:cNvPr id="7" name="TextBox 1"/>
          <p:cNvSpPr txBox="1"/>
          <p:nvPr/>
        </p:nvSpPr>
        <p:spPr>
          <a:xfrm>
            <a:off x="293673" y="489353"/>
            <a:ext cx="546083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tr-TR"/>
            </a:defPPr>
            <a:lvl1pPr algn="ctr">
              <a:defRPr b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algn="l"/>
            <a:r>
              <a:rPr lang="tr-TR" sz="3000" dirty="0" smtClean="0">
                <a:solidFill>
                  <a:srgbClr val="002060"/>
                </a:solidFill>
              </a:rPr>
              <a:t>Star Yolculuğu</a:t>
            </a:r>
            <a:endParaRPr lang="tr-TR" sz="3000" dirty="0">
              <a:solidFill>
                <a:srgbClr val="002060"/>
              </a:solidFill>
            </a:endParaRPr>
          </a:p>
        </p:txBody>
      </p:sp>
      <p:graphicFrame>
        <p:nvGraphicFramePr>
          <p:cNvPr id="5" name="Diyagram 4"/>
          <p:cNvGraphicFramePr/>
          <p:nvPr>
            <p:extLst>
              <p:ext uri="{D42A27DB-BD31-4B8C-83A1-F6EECF244321}">
                <p14:modId xmlns:p14="http://schemas.microsoft.com/office/powerpoint/2010/main" val="3522259076"/>
              </p:ext>
            </p:extLst>
          </p:nvPr>
        </p:nvGraphicFramePr>
        <p:xfrm>
          <a:off x="323528" y="2048125"/>
          <a:ext cx="8424936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6" name="Grup 5"/>
          <p:cNvGrpSpPr/>
          <p:nvPr/>
        </p:nvGrpSpPr>
        <p:grpSpPr>
          <a:xfrm>
            <a:off x="467544" y="3180778"/>
            <a:ext cx="1438776" cy="1662936"/>
            <a:chOff x="144019" y="1852732"/>
            <a:chExt cx="1233220" cy="1662936"/>
          </a:xfrm>
        </p:grpSpPr>
        <p:sp>
          <p:nvSpPr>
            <p:cNvPr id="8" name="Dikdörtgen 7"/>
            <p:cNvSpPr/>
            <p:nvPr/>
          </p:nvSpPr>
          <p:spPr>
            <a:xfrm>
              <a:off x="144019" y="2952327"/>
              <a:ext cx="890335" cy="563341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Metin kutusu 8"/>
            <p:cNvSpPr txBox="1"/>
            <p:nvPr/>
          </p:nvSpPr>
          <p:spPr>
            <a:xfrm>
              <a:off x="486904" y="1852732"/>
              <a:ext cx="890335" cy="56334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0" tIns="57150" rIns="57150" bIns="57150" numCol="1" spcCol="1270" anchor="t" anchorCtr="0">
              <a:noAutofit/>
            </a:bodyPr>
            <a:lstStyle/>
            <a:p>
              <a:pPr lvl="0" algn="l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1500" b="1" dirty="0" smtClean="0"/>
                <a:t>Ocak</a:t>
              </a:r>
              <a:endParaRPr lang="tr-TR" sz="1500" b="1" kern="1200" dirty="0"/>
            </a:p>
          </p:txBody>
        </p:sp>
      </p:grpSp>
      <p:sp>
        <p:nvSpPr>
          <p:cNvPr id="11" name="Dikdörtgen 10"/>
          <p:cNvSpPr/>
          <p:nvPr/>
        </p:nvSpPr>
        <p:spPr>
          <a:xfrm>
            <a:off x="2833724" y="2780928"/>
            <a:ext cx="1038738" cy="563341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Metin kutusu 12"/>
          <p:cNvSpPr txBox="1"/>
          <p:nvPr/>
        </p:nvSpPr>
        <p:spPr>
          <a:xfrm>
            <a:off x="690967" y="5269693"/>
            <a:ext cx="1008112" cy="56334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7150" tIns="57150" rIns="57150" bIns="57150" numCol="1" spcCol="1270" anchor="t" anchorCtr="0">
            <a:noAutofit/>
          </a:bodyPr>
          <a:lstStyle/>
          <a:p>
            <a:pPr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tr-TR" sz="1500" b="1" dirty="0" smtClean="0"/>
          </a:p>
        </p:txBody>
      </p:sp>
      <p:pic>
        <p:nvPicPr>
          <p:cNvPr id="3" name="Resim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6228" y="3531536"/>
            <a:ext cx="742612" cy="742612"/>
          </a:xfrm>
          <a:prstGeom prst="rect">
            <a:avLst/>
          </a:prstGeom>
        </p:spPr>
      </p:pic>
      <p:pic>
        <p:nvPicPr>
          <p:cNvPr id="14" name="Resim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13255" y="2550655"/>
            <a:ext cx="742612" cy="742612"/>
          </a:xfrm>
          <a:prstGeom prst="rect">
            <a:avLst/>
          </a:prstGeom>
        </p:spPr>
      </p:pic>
      <p:pic>
        <p:nvPicPr>
          <p:cNvPr id="15" name="Resim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38479" y="3105713"/>
            <a:ext cx="742612" cy="742612"/>
          </a:xfrm>
          <a:prstGeom prst="rect">
            <a:avLst/>
          </a:prstGeom>
        </p:spPr>
      </p:pic>
      <p:grpSp>
        <p:nvGrpSpPr>
          <p:cNvPr id="16" name="Grup 15"/>
          <p:cNvGrpSpPr/>
          <p:nvPr/>
        </p:nvGrpSpPr>
        <p:grpSpPr>
          <a:xfrm>
            <a:off x="1400906" y="2640291"/>
            <a:ext cx="3243102" cy="720920"/>
            <a:chOff x="144019" y="2952327"/>
            <a:chExt cx="2779765" cy="720920"/>
          </a:xfrm>
        </p:grpSpPr>
        <p:sp>
          <p:nvSpPr>
            <p:cNvPr id="17" name="Dikdörtgen 16"/>
            <p:cNvSpPr/>
            <p:nvPr/>
          </p:nvSpPr>
          <p:spPr>
            <a:xfrm>
              <a:off x="144019" y="2952327"/>
              <a:ext cx="890335" cy="563341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Metin kutusu 17"/>
            <p:cNvSpPr txBox="1"/>
            <p:nvPr/>
          </p:nvSpPr>
          <p:spPr>
            <a:xfrm>
              <a:off x="1219514" y="3109906"/>
              <a:ext cx="1704270" cy="56334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0" tIns="57150" rIns="57150" bIns="57150" numCol="1" spcCol="1270" anchor="t" anchorCtr="0">
              <a:noAutofit/>
            </a:bodyPr>
            <a:lstStyle/>
            <a:p>
              <a:pPr lvl="0" algn="l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1500" b="1" kern="1200" dirty="0" smtClean="0"/>
                <a:t>Mart &amp; Mayıs</a:t>
              </a:r>
              <a:endParaRPr lang="tr-TR" sz="1500" b="1" kern="1200" dirty="0"/>
            </a:p>
          </p:txBody>
        </p:sp>
      </p:grpSp>
      <p:sp>
        <p:nvSpPr>
          <p:cNvPr id="20" name="Metin kutusu 19"/>
          <p:cNvSpPr txBox="1"/>
          <p:nvPr/>
        </p:nvSpPr>
        <p:spPr>
          <a:xfrm>
            <a:off x="5220072" y="2240981"/>
            <a:ext cx="1988341" cy="56334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7150" tIns="57150" rIns="57150" bIns="57150" numCol="1" spcCol="1270" anchor="t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1500" b="1" kern="1200" dirty="0" smtClean="0"/>
              <a:t>Haziran</a:t>
            </a:r>
            <a:endParaRPr lang="tr-TR" sz="1500" b="1" kern="1200" dirty="0"/>
          </a:p>
        </p:txBody>
      </p:sp>
      <p:pic>
        <p:nvPicPr>
          <p:cNvPr id="21" name="Resim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78061" y="2061710"/>
            <a:ext cx="742612" cy="742612"/>
          </a:xfrm>
          <a:prstGeom prst="rect">
            <a:avLst/>
          </a:prstGeom>
        </p:spPr>
      </p:pic>
      <p:sp>
        <p:nvSpPr>
          <p:cNvPr id="22" name="Metin kutusu 21"/>
          <p:cNvSpPr txBox="1"/>
          <p:nvPr/>
        </p:nvSpPr>
        <p:spPr>
          <a:xfrm>
            <a:off x="7452321" y="1700808"/>
            <a:ext cx="1152128" cy="56334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7150" tIns="57150" rIns="57150" bIns="57150" numCol="1" spcCol="1270" anchor="t" anchorCtr="0">
            <a:noAutofit/>
          </a:bodyPr>
          <a:lstStyle/>
          <a:p>
            <a:pPr lvl="0" algn="l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1500" b="1" kern="1200" dirty="0" smtClean="0"/>
              <a:t>Temmuz</a:t>
            </a:r>
            <a:endParaRPr lang="tr-TR" sz="1500" b="1" kern="1200" dirty="0"/>
          </a:p>
        </p:txBody>
      </p:sp>
    </p:spTree>
    <p:extLst>
      <p:ext uri="{BB962C8B-B14F-4D97-AF65-F5344CB8AC3E}">
        <p14:creationId xmlns:p14="http://schemas.microsoft.com/office/powerpoint/2010/main" val="611613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512" y="6586899"/>
            <a:ext cx="7489825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8953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r-TR" sz="1200" kern="0" dirty="0" smtClean="0">
                <a:solidFill>
                  <a:prstClr val="white"/>
                </a:solidFill>
                <a:latin typeface="Arial" pitchFamily="34" charset="0"/>
              </a:rPr>
              <a:t>* Dipnot</a:t>
            </a:r>
            <a:endParaRPr lang="en-US" sz="1200" kern="0" dirty="0" smtClean="0">
              <a:solidFill>
                <a:prstClr val="white"/>
              </a:solidFill>
              <a:latin typeface="Arial" pitchFamily="34" charset="0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539552" y="2852936"/>
            <a:ext cx="7772400" cy="8640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tr-TR" sz="3200" b="1" dirty="0" smtClean="0">
                <a:solidFill>
                  <a:prstClr val="black"/>
                </a:solidFill>
              </a:rPr>
              <a:t>TEŞEKKÜRLER</a:t>
            </a:r>
            <a:endParaRPr lang="tr-TR" sz="32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0488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EWmc9qTkCNxUOOOpMp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EWmc9qTkCNxUOOOpMp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EWmc9qTkCNxUOOOpMp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EWmc9qTkCNxUOOOpMp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EWmc9qTkCNxUOOOpMpNg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 Klasik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Süt Bardağı">
      <a:fillStyleLst>
        <a:solidFill>
          <a:schemeClr val="phClr"/>
        </a:solidFill>
        <a:gradFill rotWithShape="1">
          <a:gsLst>
            <a:gs pos="0">
              <a:schemeClr val="phClr">
                <a:tint val="15000"/>
                <a:satMod val="250000"/>
              </a:schemeClr>
            </a:gs>
            <a:gs pos="49000">
              <a:schemeClr val="phClr">
                <a:tint val="50000"/>
                <a:satMod val="200000"/>
              </a:schemeClr>
            </a:gs>
            <a:gs pos="49100">
              <a:schemeClr val="phClr">
                <a:tint val="64000"/>
                <a:satMod val="160000"/>
              </a:schemeClr>
            </a:gs>
            <a:gs pos="92000">
              <a:schemeClr val="phClr">
                <a:tint val="50000"/>
                <a:satMod val="200000"/>
              </a:schemeClr>
            </a:gs>
            <a:gs pos="100000">
              <a:schemeClr val="phClr">
                <a:tint val="43000"/>
                <a:satMod val="19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4000"/>
              </a:schemeClr>
            </a:gs>
            <a:gs pos="49000">
              <a:schemeClr val="phClr">
                <a:tint val="96000"/>
                <a:shade val="84000"/>
                <a:satMod val="110000"/>
              </a:schemeClr>
            </a:gs>
            <a:gs pos="49100">
              <a:schemeClr val="phClr">
                <a:shade val="55000"/>
                <a:satMod val="150000"/>
              </a:schemeClr>
            </a:gs>
            <a:gs pos="92000">
              <a:schemeClr val="phClr">
                <a:tint val="98000"/>
                <a:shade val="90000"/>
                <a:satMod val="128000"/>
              </a:schemeClr>
            </a:gs>
            <a:gs pos="100000">
              <a:schemeClr val="phClr">
                <a:tint val="90000"/>
                <a:shade val="97000"/>
                <a:satMod val="128000"/>
              </a:schemeClr>
            </a:gs>
          </a:gsLst>
          <a:lin ang="5400000" scaled="1"/>
        </a:gradFill>
      </a:fillStyleLst>
      <a:lnStyleLst>
        <a:ln w="11430" cap="flat" cmpd="sng" algn="ctr">
          <a:solidFill>
            <a:schemeClr val="phClr"/>
          </a:solidFill>
          <a:prstDash val="solid"/>
        </a:ln>
        <a:ln w="40000" cap="flat" cmpd="sng" algn="ctr">
          <a:solidFill>
            <a:schemeClr val="phClr"/>
          </a:solidFill>
          <a:prstDash val="solid"/>
        </a:ln>
        <a:ln w="31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000" dir="5400000" rotWithShape="0">
              <a:schemeClr val="phClr">
                <a:shade val="30000"/>
                <a:satMod val="150000"/>
                <a:alpha val="38000"/>
              </a:schemeClr>
            </a:outerShdw>
          </a:effectLst>
        </a:effectStyle>
        <a:effectStyle>
          <a:effectLst>
            <a:outerShdw blurRad="39000" dist="25400" dir="5400000" rotWithShape="0">
              <a:schemeClr val="phClr">
                <a:shade val="33000"/>
                <a:alpha val="83000"/>
              </a:schemeClr>
            </a:outerShdw>
          </a:effectLst>
        </a:effectStyle>
        <a:effectStyle>
          <a:effectLst>
            <a:outerShdw blurRad="39000" dist="25400" dir="5400000" rotWithShape="0">
              <a:schemeClr val="phClr">
                <a:shade val="33000"/>
                <a:alpha val="83000"/>
              </a:scheme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500000"/>
            </a:lightRig>
          </a:scene3d>
          <a:sp3d extrusionH="127000" prstMaterial="powder">
            <a:bevelT w="50800" h="635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rgbClr val="E7EBEE"/>
      </a:lt1>
      <a:dk2>
        <a:srgbClr val="44546A"/>
      </a:dk2>
      <a:lt2>
        <a:srgbClr val="E7E6E6"/>
      </a:lt2>
      <a:accent1>
        <a:srgbClr val="01B0F1"/>
      </a:accent1>
      <a:accent2>
        <a:srgbClr val="0071C1"/>
      </a:accent2>
      <a:accent3>
        <a:srgbClr val="4473C5"/>
      </a:accent3>
      <a:accent4>
        <a:srgbClr val="015291"/>
      </a:accent4>
      <a:accent5>
        <a:srgbClr val="4472C4"/>
      </a:accent5>
      <a:accent6>
        <a:srgbClr val="85C0FB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Office Theme">
  <a:themeElements>
    <a:clrScheme name="Bussiness Presentation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519A"/>
      </a:accent1>
      <a:accent2>
        <a:srgbClr val="008971"/>
      </a:accent2>
      <a:accent3>
        <a:srgbClr val="96B82D"/>
      </a:accent3>
      <a:accent4>
        <a:srgbClr val="CB2027"/>
      </a:accent4>
      <a:accent5>
        <a:srgbClr val="FFC000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65</TotalTime>
  <Words>320</Words>
  <Application>Microsoft Office PowerPoint</Application>
  <PresentationFormat>Ekran Gösterisi (4:3)</PresentationFormat>
  <Paragraphs>64</Paragraphs>
  <Slides>9</Slides>
  <Notes>0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8</vt:i4>
      </vt:variant>
      <vt:variant>
        <vt:lpstr>Tema</vt:lpstr>
      </vt:variant>
      <vt:variant>
        <vt:i4>5</vt:i4>
      </vt:variant>
      <vt:variant>
        <vt:lpstr>Slayt Başlıkları</vt:lpstr>
      </vt:variant>
      <vt:variant>
        <vt:i4>9</vt:i4>
      </vt:variant>
    </vt:vector>
  </HeadingPairs>
  <TitlesOfParts>
    <vt:vector size="22" baseType="lpstr">
      <vt:lpstr>Arial</vt:lpstr>
      <vt:lpstr>Calibri</vt:lpstr>
      <vt:lpstr>Calibri Light</vt:lpstr>
      <vt:lpstr>Open Sans</vt:lpstr>
      <vt:lpstr>Segoe UI Emoji</vt:lpstr>
      <vt:lpstr>Tahoma</vt:lpstr>
      <vt:lpstr>Times New Roman</vt:lpstr>
      <vt:lpstr>Wingdings 2</vt:lpstr>
      <vt:lpstr>Ofis Teması</vt:lpstr>
      <vt:lpstr>1_Ofis Teması</vt:lpstr>
      <vt:lpstr>2_Ofis Teması</vt:lpstr>
      <vt:lpstr>Office Theme</vt:lpstr>
      <vt:lpstr>1_Office Theme</vt:lpstr>
      <vt:lpstr>STARGATE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MPLE PRESENTATION</dc:title>
  <dc:creator>asus</dc:creator>
  <cp:lastModifiedBy>Seda Karadeniz</cp:lastModifiedBy>
  <cp:revision>287</cp:revision>
  <dcterms:created xsi:type="dcterms:W3CDTF">2012-10-12T07:18:53Z</dcterms:created>
  <dcterms:modified xsi:type="dcterms:W3CDTF">2019-10-22T12:44:20Z</dcterms:modified>
</cp:coreProperties>
</file>